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xml" ContentType="application/vnd.openxmlformats-officedocument.presentationml.notesSlide+xml"/>
  <Override PartName="/ppt/tags/tag7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4.xml" ContentType="application/vnd.openxmlformats-officedocument.presentationml.notesSlide+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3.xml" ContentType="application/vnd.openxmlformats-officedocument.presentationml.tags+xml"/>
  <Override PartName="/ppt/notesSlides/notesSlide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18"/>
  </p:notesMasterIdLst>
  <p:handoutMasterIdLst>
    <p:handoutMasterId r:id="rId19"/>
  </p:handoutMasterIdLst>
  <p:sldIdLst>
    <p:sldId id="628" r:id="rId5"/>
    <p:sldId id="626" r:id="rId6"/>
    <p:sldId id="258" r:id="rId7"/>
    <p:sldId id="257" r:id="rId8"/>
    <p:sldId id="468" r:id="rId9"/>
    <p:sldId id="274" r:id="rId10"/>
    <p:sldId id="362" r:id="rId11"/>
    <p:sldId id="616" r:id="rId12"/>
    <p:sldId id="585" r:id="rId13"/>
    <p:sldId id="615" r:id="rId14"/>
    <p:sldId id="473" r:id="rId15"/>
    <p:sldId id="627" r:id="rId16"/>
    <p:sldId id="275" r:id="rId17"/>
  </p:sldIdLst>
  <p:sldSz cx="12192000" cy="6858000"/>
  <p:notesSz cx="7010400" cy="9296400"/>
  <p:custShowLst>
    <p:custShow name="Format Guide Workshop"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96EF5A-0BEF-3681-7B0E-0B6EE3BEFB45}" name="Guisbond, Abigail (HEALTH)" initials="GA(" userId="S::Abigail.Guisbond@health.ny.gov::d5589453-2ad0-4429-abb8-9b831104f681" providerId="AD"/>
  <p188:author id="{3B090B99-7096-AE15-EDD0-612641FBC4D1}" name="Deetz, Valerie A (HEALTH)" initials="DVA(" userId="S::valerie.deetz@health.ny.gov::c55df23f-1795-42bb-b04a-90250477da49" providerId="AD"/>
  <p188:author id="{9856FA9F-1E8F-E90B-0C96-3D87247C3582}" name="Rodat, Carol (HEALTH)" initials="RC(" userId="S::Carol.Rodat@health.ny.gov::d7190632-619f-460b-824e-261cdc5ad17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2862"/>
    <a:srgbClr val="6F5091"/>
    <a:srgbClr val="0087A9"/>
    <a:srgbClr val="DCCFEB"/>
    <a:srgbClr val="523178"/>
    <a:srgbClr val="C3ABDD"/>
    <a:srgbClr val="CCCCCC"/>
    <a:srgbClr val="545454"/>
    <a:srgbClr val="FFFFFF"/>
    <a:srgbClr val="C5B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B052BA-013B-4C25-84E2-B8446F2578CA}" v="1" dt="2023-08-21T16:02:04.4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376" autoAdjust="0"/>
    <p:restoredTop sz="93792" autoAdjust="0"/>
  </p:normalViewPr>
  <p:slideViewPr>
    <p:cSldViewPr snapToGrid="0">
      <p:cViewPr varScale="1">
        <p:scale>
          <a:sx n="114" d="100"/>
          <a:sy n="114" d="100"/>
        </p:scale>
        <p:origin x="966" y="96"/>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37840" cy="466435"/>
          </a:xfrm>
          <a:prstGeom prst="rect">
            <a:avLst/>
          </a:prstGeom>
        </p:spPr>
        <p:txBody>
          <a:bodyPr vert="horz" lIns="93176" tIns="46588" rIns="93176" bIns="46588" rtlCol="0"/>
          <a:lstStyle>
            <a:lvl1pPr algn="l">
              <a:defRPr sz="1200"/>
            </a:lvl1pPr>
          </a:lstStyle>
          <a:p>
            <a:endParaRPr lang="en-US" sz="800"/>
          </a:p>
        </p:txBody>
      </p:sp>
      <p:sp>
        <p:nvSpPr>
          <p:cNvPr id="3" name="Date Placeholder 2"/>
          <p:cNvSpPr>
            <a:spLocks noGrp="1"/>
          </p:cNvSpPr>
          <p:nvPr>
            <p:ph type="dt" sz="quarter" idx="1"/>
          </p:nvPr>
        </p:nvSpPr>
        <p:spPr>
          <a:xfrm>
            <a:off x="3970941" y="3"/>
            <a:ext cx="3037840" cy="466435"/>
          </a:xfrm>
          <a:prstGeom prst="rect">
            <a:avLst/>
          </a:prstGeom>
        </p:spPr>
        <p:txBody>
          <a:bodyPr vert="horz" lIns="93176" tIns="46588" rIns="93176" bIns="46588" rtlCol="0"/>
          <a:lstStyle>
            <a:lvl1pPr algn="r">
              <a:defRPr sz="1200"/>
            </a:lvl1pPr>
          </a:lstStyle>
          <a:p>
            <a:fld id="{57691E93-EF64-46CC-85E2-BBB5BEDB9501}" type="datetimeFigureOut">
              <a:rPr lang="en-US" sz="800"/>
              <a:t>8/23/2023</a:t>
            </a:fld>
            <a:endParaRPr lang="en-US" sz="800"/>
          </a:p>
        </p:txBody>
      </p:sp>
      <p:sp>
        <p:nvSpPr>
          <p:cNvPr id="4" name="Footer Placeholder 3"/>
          <p:cNvSpPr>
            <a:spLocks noGrp="1"/>
          </p:cNvSpPr>
          <p:nvPr>
            <p:ph type="ftr" sz="quarter" idx="2"/>
          </p:nvPr>
        </p:nvSpPr>
        <p:spPr>
          <a:xfrm>
            <a:off x="2" y="8829970"/>
            <a:ext cx="3037840" cy="466434"/>
          </a:xfrm>
          <a:prstGeom prst="rect">
            <a:avLst/>
          </a:prstGeom>
        </p:spPr>
        <p:txBody>
          <a:bodyPr vert="horz" lIns="93176" tIns="46588" rIns="93176" bIns="46588" rtlCol="0" anchor="b"/>
          <a:lstStyle>
            <a:lvl1pPr algn="l">
              <a:defRPr sz="1200"/>
            </a:lvl1pPr>
          </a:lstStyle>
          <a:p>
            <a:endParaRPr lang="en-US" sz="800"/>
          </a:p>
        </p:txBody>
      </p:sp>
      <p:sp>
        <p:nvSpPr>
          <p:cNvPr id="5" name="Slide Number Placeholder 4"/>
          <p:cNvSpPr>
            <a:spLocks noGrp="1"/>
          </p:cNvSpPr>
          <p:nvPr>
            <p:ph type="sldNum" sz="quarter" idx="3"/>
          </p:nvPr>
        </p:nvSpPr>
        <p:spPr>
          <a:xfrm>
            <a:off x="3970941" y="8829970"/>
            <a:ext cx="3037840" cy="466434"/>
          </a:xfrm>
          <a:prstGeom prst="rect">
            <a:avLst/>
          </a:prstGeom>
        </p:spPr>
        <p:txBody>
          <a:bodyPr vert="horz" lIns="93176" tIns="46588" rIns="93176" bIns="4658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439529"/>
            <a:ext cx="7008778" cy="48568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176" tIns="46588" rIns="93176" bIns="46588" rtlCol="0" anchor="ctr"/>
          <a:lstStyle/>
          <a:p>
            <a:pPr algn="ctr"/>
            <a:endParaRPr lang="en-US">
              <a:latin typeface="+mn-lt"/>
              <a:ea typeface="+mn-ea"/>
              <a:cs typeface="+mn-cs"/>
            </a:endParaRPr>
          </a:p>
        </p:txBody>
      </p:sp>
      <p:sp>
        <p:nvSpPr>
          <p:cNvPr id="2" name="Header Placeholder 1"/>
          <p:cNvSpPr>
            <a:spLocks noGrp="1"/>
          </p:cNvSpPr>
          <p:nvPr>
            <p:ph type="hdr" sz="quarter"/>
          </p:nvPr>
        </p:nvSpPr>
        <p:spPr>
          <a:xfrm>
            <a:off x="83143" y="3"/>
            <a:ext cx="2954699" cy="466435"/>
          </a:xfrm>
          <a:prstGeom prst="rect">
            <a:avLst/>
          </a:prstGeom>
        </p:spPr>
        <p:txBody>
          <a:bodyPr vert="horz" lIns="93176" tIns="46588" rIns="93176" bIns="46588" rtlCol="0"/>
          <a:lstStyle>
            <a:lvl1pPr algn="l">
              <a:defRPr sz="1400">
                <a:latin typeface="+mn-lt"/>
                <a:ea typeface="+mn-ea"/>
                <a:cs typeface="+mn-cs"/>
              </a:defRPr>
            </a:lvl1pPr>
          </a:lstStyle>
          <a:p>
            <a:endParaRPr lang="en-US"/>
          </a:p>
        </p:txBody>
      </p:sp>
      <p:sp>
        <p:nvSpPr>
          <p:cNvPr id="4" name="Slide Image Placeholder 3"/>
          <p:cNvSpPr>
            <a:spLocks noGrp="1" noRot="1" noChangeAspect="1"/>
          </p:cNvSpPr>
          <p:nvPr>
            <p:ph type="sldImg" idx="2"/>
          </p:nvPr>
        </p:nvSpPr>
        <p:spPr>
          <a:xfrm>
            <a:off x="165100" y="579438"/>
            <a:ext cx="6662738" cy="3748087"/>
          </a:xfrm>
          <a:prstGeom prst="rect">
            <a:avLst/>
          </a:prstGeom>
          <a:noFill/>
          <a:ln w="9525">
            <a:solidFill>
              <a:schemeClr val="bg2"/>
            </a:solidFill>
          </a:ln>
        </p:spPr>
        <p:txBody>
          <a:bodyPr vert="horz" lIns="93176" tIns="46588" rIns="93176" bIns="46588" rtlCol="0" anchor="ctr"/>
          <a:lstStyle/>
          <a:p>
            <a:endParaRPr lang="en-US"/>
          </a:p>
        </p:txBody>
      </p:sp>
      <p:sp>
        <p:nvSpPr>
          <p:cNvPr id="6" name="Footer Placeholder 5"/>
          <p:cNvSpPr>
            <a:spLocks noGrp="1"/>
          </p:cNvSpPr>
          <p:nvPr>
            <p:ph type="ftr" sz="quarter" idx="4"/>
          </p:nvPr>
        </p:nvSpPr>
        <p:spPr>
          <a:xfrm>
            <a:off x="83143" y="8801208"/>
            <a:ext cx="2954699" cy="466434"/>
          </a:xfrm>
          <a:prstGeom prst="rect">
            <a:avLst/>
          </a:prstGeom>
        </p:spPr>
        <p:txBody>
          <a:bodyPr vert="horz" lIns="93176" tIns="46588" rIns="93176" bIns="46588" rtlCol="0" anchor="b"/>
          <a:lstStyle>
            <a:lvl1pPr algn="l">
              <a:defRPr sz="1400">
                <a:latin typeface="+mn-lt"/>
                <a:ea typeface="+mn-ea"/>
                <a:cs typeface="+mn-cs"/>
              </a:defRPr>
            </a:lvl1pPr>
          </a:lstStyle>
          <a:p>
            <a:endParaRPr lang="en-US"/>
          </a:p>
        </p:txBody>
      </p:sp>
      <p:sp>
        <p:nvSpPr>
          <p:cNvPr id="7" name="Slide Number Placeholder 6"/>
          <p:cNvSpPr>
            <a:spLocks noGrp="1"/>
          </p:cNvSpPr>
          <p:nvPr>
            <p:ph type="sldNum" sz="quarter" idx="5"/>
          </p:nvPr>
        </p:nvSpPr>
        <p:spPr>
          <a:xfrm>
            <a:off x="3970940" y="8801208"/>
            <a:ext cx="2945302" cy="466434"/>
          </a:xfrm>
          <a:prstGeom prst="rect">
            <a:avLst/>
          </a:prstGeom>
        </p:spPr>
        <p:txBody>
          <a:bodyPr vert="horz" lIns="93176" tIns="46588" rIns="93176" bIns="46588" rtlCol="0" anchor="b"/>
          <a:lstStyle>
            <a:lvl1pPr algn="r">
              <a:defRPr sz="1400">
                <a:latin typeface="+mn-lt"/>
                <a:ea typeface="+mn-ea"/>
                <a:cs typeface="+mn-cs"/>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61772" y="4745447"/>
            <a:ext cx="6469091" cy="3793564"/>
          </a:xfrm>
          <a:prstGeom prst="rect">
            <a:avLst/>
          </a:prstGeom>
        </p:spPr>
        <p:txBody>
          <a:bodyPr vert="horz" lIns="93176" tIns="46588" rIns="93176" bIns="4658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71172" y="0"/>
            <a:ext cx="3037627" cy="466578"/>
          </a:xfrm>
          <a:prstGeom prst="rect">
            <a:avLst/>
          </a:prstGeom>
        </p:spPr>
        <p:txBody>
          <a:bodyPr vert="horz" lIns="92117" tIns="46058" rIns="92117" bIns="46058" rtlCol="0"/>
          <a:lstStyle>
            <a:lvl1pPr algn="r">
              <a:defRPr sz="1200">
                <a:latin typeface="+mn-lt"/>
                <a:ea typeface="+mn-ea"/>
                <a:cs typeface="+mn-cs"/>
              </a:defRPr>
            </a:lvl1pPr>
          </a:lstStyle>
          <a:p>
            <a:fld id="{F2C7CF5F-7CF3-4DF3-838A-EE34544862CC}" type="datetimeFigureOut">
              <a:rPr lang="en-US" smtClean="0"/>
              <a:pPr/>
              <a:t>8/23/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527018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3786321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504851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250720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4121276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3754573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521595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956161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28330447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9.png"/><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7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73.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pn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68675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icture 43"/>
          <p:cNvPicPr>
            <a:picLocks noChangeAspect="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35026" y="871806"/>
            <a:ext cx="4343846" cy="1103044"/>
          </a:xfrm>
          <a:prstGeom prst="rect">
            <a:avLst/>
          </a:prstGeom>
        </p:spPr>
      </p:pic>
      <p:grpSp>
        <p:nvGrpSpPr>
          <p:cNvPr id="45" name="Group 44"/>
          <p:cNvGrpSpPr/>
          <p:nvPr userDrawn="1"/>
        </p:nvGrpSpPr>
        <p:grpSpPr>
          <a:xfrm>
            <a:off x="0" y="4395019"/>
            <a:ext cx="12192000" cy="2492477"/>
            <a:chOff x="0" y="3695700"/>
            <a:chExt cx="12192000" cy="3162300"/>
          </a:xfrm>
        </p:grpSpPr>
        <p:sp>
          <p:nvSpPr>
            <p:cNvPr id="46" name="Rectangle 45"/>
            <p:cNvSpPr/>
            <p:nvPr userDrawn="1"/>
          </p:nvSpPr>
          <p:spPr>
            <a:xfrm>
              <a:off x="0" y="3695700"/>
              <a:ext cx="12192000" cy="3162300"/>
            </a:xfrm>
            <a:prstGeom prst="rect">
              <a:avLst/>
            </a:prstGeom>
            <a:solidFill>
              <a:srgbClr val="F2A9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sp>
          <p:nvSpPr>
            <p:cNvPr id="47" name="Rectangle 46"/>
            <p:cNvSpPr/>
            <p:nvPr userDrawn="1"/>
          </p:nvSpPr>
          <p:spPr>
            <a:xfrm>
              <a:off x="0" y="3924300"/>
              <a:ext cx="12192000" cy="2933700"/>
            </a:xfrm>
            <a:prstGeom prst="rect">
              <a:avLst/>
            </a:prstGeom>
            <a:solidFill>
              <a:srgbClr val="52317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grpSp>
      <p:sp>
        <p:nvSpPr>
          <p:cNvPr id="27" name="Title 1"/>
          <p:cNvSpPr>
            <a:spLocks noGrp="1"/>
          </p:cNvSpPr>
          <p:nvPr>
            <p:ph type="ctrTitle" hasCustomPrompt="1"/>
          </p:nvPr>
        </p:nvSpPr>
        <p:spPr bwMode="ltGray">
          <a:xfrm>
            <a:off x="640771" y="2554943"/>
            <a:ext cx="10939486" cy="1510411"/>
          </a:xfrm>
          <a:prstGeom prst="rect">
            <a:avLst/>
          </a:prstGeom>
        </p:spPr>
        <p:txBody>
          <a:bodyPr vert="horz" wrap="square" lIns="0" tIns="0" rIns="0" bIns="0" rtlCol="0" anchor="b">
            <a:noAutofit/>
          </a:bodyPr>
          <a:lstStyle>
            <a:lvl1pPr>
              <a:defRPr kumimoji="0" lang="en-US" sz="4800" b="0" i="0" u="none" strike="noStrike" cap="none" spc="0" normalizeH="0" baseline="0" dirty="0">
                <a:ln>
                  <a:noFill/>
                </a:ln>
                <a:solidFill>
                  <a:srgbClr val="101820"/>
                </a:solidFill>
                <a:effectLst/>
                <a:uLnTx/>
                <a:uFillTx/>
                <a:latin typeface="Proxima Nova Rg"/>
              </a:defRPr>
            </a:lvl1pPr>
          </a:lstStyle>
          <a:p>
            <a:pPr marL="0" marR="0" lvl="0" indent="0" fontAlgn="auto">
              <a:lnSpc>
                <a:spcPct val="93000"/>
              </a:lnSpc>
              <a:spcAft>
                <a:spcPts val="0"/>
              </a:spcAft>
              <a:buClrTx/>
              <a:buSzTx/>
              <a:buFontTx/>
              <a:tabLst/>
            </a:pPr>
            <a:r>
              <a:rPr lang="en-US"/>
              <a:t>Title in Title Case</a:t>
            </a:r>
          </a:p>
        </p:txBody>
      </p:sp>
      <p:sp>
        <p:nvSpPr>
          <p:cNvPr id="22" name="Text Placeholder 6"/>
          <p:cNvSpPr>
            <a:spLocks noGrp="1"/>
          </p:cNvSpPr>
          <p:nvPr>
            <p:ph type="body" sz="quarter" idx="12" hasCustomPrompt="1"/>
          </p:nvPr>
        </p:nvSpPr>
        <p:spPr bwMode="black">
          <a:xfrm>
            <a:off x="640771" y="5697705"/>
            <a:ext cx="10939486" cy="327148"/>
          </a:xfrm>
          <a:prstGeom prst="rect">
            <a:avLst/>
          </a:prstGeom>
          <a:noFill/>
        </p:spPr>
        <p:txBody>
          <a:bodyPr vert="horz" lIns="0" tIns="0" rIns="0" bIns="0" rtlCol="0" anchor="ctr">
            <a:noAutofit/>
          </a:bodyPr>
          <a:lstStyle>
            <a:lvl1pPr>
              <a:defRPr kumimoji="0" lang="en-US" b="1" i="0" u="none" strike="noStrike" cap="all" spc="0" normalizeH="0" baseline="0" dirty="0">
                <a:ln>
                  <a:noFill/>
                </a:ln>
                <a:solidFill>
                  <a:srgbClr val="FFFFFF"/>
                </a:solidFill>
                <a:effectLst/>
                <a:uLnTx/>
                <a:uFillTx/>
                <a:latin typeface="Proxima Nova Rg"/>
              </a:defRPr>
            </a:lvl1pPr>
          </a:lstStyle>
          <a:p>
            <a:pPr marR="0" lvl="0" fontAlgn="auto">
              <a:buClrTx/>
              <a:buSzTx/>
              <a:buNone/>
              <a:tabLst/>
            </a:pPr>
            <a:r>
              <a:rPr lang="en-US"/>
              <a:t>Click to edit date/place</a:t>
            </a:r>
          </a:p>
        </p:txBody>
      </p:sp>
      <p:sp>
        <p:nvSpPr>
          <p:cNvPr id="26" name="Subtitle 2"/>
          <p:cNvSpPr>
            <a:spLocks noGrp="1"/>
          </p:cNvSpPr>
          <p:nvPr>
            <p:ph type="subTitle" idx="1" hasCustomPrompt="1"/>
          </p:nvPr>
        </p:nvSpPr>
        <p:spPr bwMode="white">
          <a:xfrm>
            <a:off x="640771" y="4985569"/>
            <a:ext cx="10939486" cy="436195"/>
          </a:xfrm>
          <a:prstGeom prst="rect">
            <a:avLst/>
          </a:prstGeom>
        </p:spPr>
        <p:txBody>
          <a:bodyPr vert="horz" lIns="0" tIns="0" rIns="0" bIns="0" rtlCol="0" anchor="ctr">
            <a:noAutofit/>
          </a:bodyPr>
          <a:lstStyle>
            <a:lvl1pPr>
              <a:defRPr kumimoji="0" lang="en-US" sz="1600" b="0" i="0" u="none" strike="noStrike" cap="none" spc="0" normalizeH="0" baseline="0" dirty="0">
                <a:ln>
                  <a:noFill/>
                </a:ln>
                <a:solidFill>
                  <a:srgbClr val="FFFFFF"/>
                </a:solidFill>
                <a:effectLst/>
                <a:uLnTx/>
                <a:uFillTx/>
                <a:latin typeface="Proxima Nova Rg"/>
              </a:defRPr>
            </a:lvl1pPr>
          </a:lstStyle>
          <a:p>
            <a:pPr marR="0" lvl="0" fontAlgn="auto">
              <a:buClrTx/>
              <a:buSzTx/>
              <a:buNone/>
              <a:tabLst/>
            </a:pPr>
            <a:r>
              <a:rPr lang="en-US"/>
              <a:t>Subtitle in sentence case</a:t>
            </a: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33584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8234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72219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rgbClr val="523178"/>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3487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523178"/>
              </a:gs>
              <a:gs pos="100000">
                <a:srgbClr val="44286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73739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523178"/>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16477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523178"/>
              </a:gs>
              <a:gs pos="100000">
                <a:srgbClr val="44286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966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523178"/>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668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523178"/>
              </a:gs>
              <a:gs pos="100000">
                <a:srgbClr val="44286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427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523178"/>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16101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523178"/>
              </a:gs>
              <a:gs pos="100000">
                <a:srgbClr val="442862"/>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99531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523178"/>
                </a:solidFill>
                <a:latin typeface="+mj-lt"/>
                <a:ea typeface="+mj-ea"/>
                <a:cs typeface="+mj-cs"/>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23395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00738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F509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F509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F1C4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6530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52317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51072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82841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57076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5417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8" name="Group 17"/>
          <p:cNvGrpSpPr/>
          <p:nvPr userDrawn="1"/>
        </p:nvGrpSpPr>
        <p:grpSpPr>
          <a:xfrm>
            <a:off x="0" y="5928852"/>
            <a:ext cx="12192000" cy="958644"/>
            <a:chOff x="0" y="3695700"/>
            <a:chExt cx="12192000" cy="3162300"/>
          </a:xfrm>
        </p:grpSpPr>
        <p:sp>
          <p:nvSpPr>
            <p:cNvPr id="19" name="Rectangle 18"/>
            <p:cNvSpPr/>
            <p:nvPr userDrawn="1"/>
          </p:nvSpPr>
          <p:spPr>
            <a:xfrm>
              <a:off x="0" y="3695700"/>
              <a:ext cx="12192000" cy="3162300"/>
            </a:xfrm>
            <a:prstGeom prst="rect">
              <a:avLst/>
            </a:prstGeom>
            <a:solidFill>
              <a:srgbClr val="F2A9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sp>
          <p:nvSpPr>
            <p:cNvPr id="20" name="Rectangle 19"/>
            <p:cNvSpPr/>
            <p:nvPr userDrawn="1"/>
          </p:nvSpPr>
          <p:spPr>
            <a:xfrm>
              <a:off x="0" y="3924300"/>
              <a:ext cx="12192000" cy="2933700"/>
            </a:xfrm>
            <a:prstGeom prst="rect">
              <a:avLst/>
            </a:prstGeom>
            <a:solidFill>
              <a:srgbClr val="52317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grpSp>
      <p:grpSp>
        <p:nvGrpSpPr>
          <p:cNvPr id="21" name="Group 20"/>
          <p:cNvGrpSpPr/>
          <p:nvPr userDrawn="1"/>
        </p:nvGrpSpPr>
        <p:grpSpPr>
          <a:xfrm rot="10800000">
            <a:off x="0" y="0"/>
            <a:ext cx="12192000" cy="958644"/>
            <a:chOff x="0" y="3695700"/>
            <a:chExt cx="12192000" cy="3162300"/>
          </a:xfrm>
        </p:grpSpPr>
        <p:sp>
          <p:nvSpPr>
            <p:cNvPr id="22" name="Rectangle 21"/>
            <p:cNvSpPr/>
            <p:nvPr userDrawn="1"/>
          </p:nvSpPr>
          <p:spPr>
            <a:xfrm>
              <a:off x="0" y="3695700"/>
              <a:ext cx="12192000" cy="3162300"/>
            </a:xfrm>
            <a:prstGeom prst="rect">
              <a:avLst/>
            </a:prstGeom>
            <a:solidFill>
              <a:srgbClr val="F2A9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sp>
          <p:nvSpPr>
            <p:cNvPr id="23" name="Rectangle 22"/>
            <p:cNvSpPr/>
            <p:nvPr userDrawn="1"/>
          </p:nvSpPr>
          <p:spPr>
            <a:xfrm>
              <a:off x="0" y="3924300"/>
              <a:ext cx="12192000" cy="2933700"/>
            </a:xfrm>
            <a:prstGeom prst="rect">
              <a:avLst/>
            </a:prstGeom>
            <a:solidFill>
              <a:srgbClr val="52317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grpSp>
      <p:pic>
        <p:nvPicPr>
          <p:cNvPr id="24" name="Picture 23"/>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9575" y="2619375"/>
            <a:ext cx="6492850" cy="1648746"/>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53071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91585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p:cNvPicPr>
            <a:picLocks noChangeAspect="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35026" y="871806"/>
            <a:ext cx="4343846" cy="1103044"/>
          </a:xfrm>
          <a:prstGeom prst="rect">
            <a:avLst/>
          </a:prstGeom>
        </p:spPr>
      </p:pic>
      <p:grpSp>
        <p:nvGrpSpPr>
          <p:cNvPr id="17" name="Group 16"/>
          <p:cNvGrpSpPr/>
          <p:nvPr userDrawn="1"/>
        </p:nvGrpSpPr>
        <p:grpSpPr>
          <a:xfrm>
            <a:off x="0" y="4395019"/>
            <a:ext cx="12192000" cy="2492477"/>
            <a:chOff x="0" y="3695700"/>
            <a:chExt cx="12192000" cy="3162300"/>
          </a:xfrm>
        </p:grpSpPr>
        <p:sp>
          <p:nvSpPr>
            <p:cNvPr id="19" name="Rectangle 18"/>
            <p:cNvSpPr/>
            <p:nvPr userDrawn="1"/>
          </p:nvSpPr>
          <p:spPr>
            <a:xfrm>
              <a:off x="0" y="3695700"/>
              <a:ext cx="12192000" cy="3162300"/>
            </a:xfrm>
            <a:prstGeom prst="rect">
              <a:avLst/>
            </a:prstGeom>
            <a:solidFill>
              <a:srgbClr val="F2A9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sp>
          <p:nvSpPr>
            <p:cNvPr id="23" name="Rectangle 22"/>
            <p:cNvSpPr/>
            <p:nvPr userDrawn="1"/>
          </p:nvSpPr>
          <p:spPr>
            <a:xfrm>
              <a:off x="0" y="3924300"/>
              <a:ext cx="12192000" cy="2933700"/>
            </a:xfrm>
            <a:prstGeom prst="rect">
              <a:avLst/>
            </a:prstGeom>
            <a:solidFill>
              <a:srgbClr val="52317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grpSp>
      <p:sp>
        <p:nvSpPr>
          <p:cNvPr id="24" name="Title 1"/>
          <p:cNvSpPr>
            <a:spLocks noGrp="1"/>
          </p:cNvSpPr>
          <p:nvPr>
            <p:ph type="ctrTitle" hasCustomPrompt="1"/>
          </p:nvPr>
        </p:nvSpPr>
        <p:spPr bwMode="ltGray">
          <a:xfrm>
            <a:off x="640771" y="2554943"/>
            <a:ext cx="10939486" cy="1510411"/>
          </a:xfrm>
          <a:prstGeom prst="rect">
            <a:avLst/>
          </a:prstGeom>
        </p:spPr>
        <p:txBody>
          <a:bodyPr vert="horz" wrap="square" lIns="0" tIns="0" rIns="0" bIns="0" rtlCol="0" anchor="b">
            <a:noAutofit/>
          </a:bodyPr>
          <a:lstStyle>
            <a:lvl1pPr>
              <a:defRPr kumimoji="0" lang="en-US" sz="4800" b="0" i="0" u="none" strike="noStrike" cap="none" spc="0" normalizeH="0" baseline="0" dirty="0">
                <a:ln>
                  <a:noFill/>
                </a:ln>
                <a:solidFill>
                  <a:srgbClr val="101820"/>
                </a:solidFill>
                <a:effectLst/>
                <a:uLnTx/>
                <a:uFillTx/>
                <a:latin typeface="Proxima Nova Rg"/>
              </a:defRPr>
            </a:lvl1pPr>
          </a:lstStyle>
          <a:p>
            <a:pPr marL="0" marR="0" lvl="0" indent="0" fontAlgn="auto">
              <a:lnSpc>
                <a:spcPct val="93000"/>
              </a:lnSpc>
              <a:spcAft>
                <a:spcPts val="0"/>
              </a:spcAft>
              <a:buClrTx/>
              <a:buSzTx/>
              <a:buFontTx/>
              <a:tabLst/>
            </a:pPr>
            <a:r>
              <a:rPr lang="en-US"/>
              <a:t>Title in Title Case</a:t>
            </a:r>
          </a:p>
        </p:txBody>
      </p:sp>
      <p:sp>
        <p:nvSpPr>
          <p:cNvPr id="25" name="Text Placeholder 6"/>
          <p:cNvSpPr>
            <a:spLocks noGrp="1"/>
          </p:cNvSpPr>
          <p:nvPr>
            <p:ph type="body" sz="quarter" idx="12" hasCustomPrompt="1"/>
          </p:nvPr>
        </p:nvSpPr>
        <p:spPr bwMode="black">
          <a:xfrm>
            <a:off x="640771" y="5697705"/>
            <a:ext cx="10939486" cy="327148"/>
          </a:xfrm>
          <a:prstGeom prst="rect">
            <a:avLst/>
          </a:prstGeom>
          <a:noFill/>
        </p:spPr>
        <p:txBody>
          <a:bodyPr vert="horz" lIns="0" tIns="0" rIns="0" bIns="0" rtlCol="0" anchor="ctr">
            <a:noAutofit/>
          </a:bodyPr>
          <a:lstStyle>
            <a:lvl1pPr>
              <a:defRPr kumimoji="0" lang="en-US" b="1" i="0" u="none" strike="noStrike" cap="all" spc="0" normalizeH="0" baseline="0" dirty="0">
                <a:ln>
                  <a:noFill/>
                </a:ln>
                <a:solidFill>
                  <a:srgbClr val="FFFFFF"/>
                </a:solidFill>
                <a:effectLst/>
                <a:uLnTx/>
                <a:uFillTx/>
                <a:latin typeface="Proxima Nova Rg"/>
              </a:defRPr>
            </a:lvl1pPr>
          </a:lstStyle>
          <a:p>
            <a:pPr marR="0" lvl="0" fontAlgn="auto">
              <a:buClrTx/>
              <a:buSzTx/>
              <a:buNone/>
              <a:tabLst/>
            </a:pPr>
            <a:r>
              <a:rPr lang="en-US"/>
              <a:t>Click to edit date/place</a:t>
            </a:r>
          </a:p>
        </p:txBody>
      </p:sp>
      <p:sp>
        <p:nvSpPr>
          <p:cNvPr id="28" name="Subtitle 2"/>
          <p:cNvSpPr>
            <a:spLocks noGrp="1"/>
          </p:cNvSpPr>
          <p:nvPr>
            <p:ph type="subTitle" idx="1" hasCustomPrompt="1"/>
          </p:nvPr>
        </p:nvSpPr>
        <p:spPr bwMode="white">
          <a:xfrm>
            <a:off x="640771" y="4985569"/>
            <a:ext cx="10939486" cy="436195"/>
          </a:xfrm>
          <a:prstGeom prst="rect">
            <a:avLst/>
          </a:prstGeom>
        </p:spPr>
        <p:txBody>
          <a:bodyPr vert="horz" lIns="0" tIns="0" rIns="0" bIns="0" rtlCol="0" anchor="ctr">
            <a:noAutofit/>
          </a:bodyPr>
          <a:lstStyle>
            <a:lvl1pPr>
              <a:defRPr kumimoji="0" lang="en-US" sz="1600" b="0" i="0" u="none" strike="noStrike" cap="none" spc="0" normalizeH="0" baseline="0" dirty="0">
                <a:ln>
                  <a:noFill/>
                </a:ln>
                <a:solidFill>
                  <a:srgbClr val="FFFFFF"/>
                </a:solidFill>
                <a:effectLst/>
                <a:uLnTx/>
                <a:uFillTx/>
                <a:latin typeface="Proxima Nova Rg"/>
              </a:defRPr>
            </a:lvl1pPr>
          </a:lstStyle>
          <a:p>
            <a:pPr marR="0" lvl="0" fontAlgn="auto">
              <a:buClrTx/>
              <a:buSzTx/>
              <a:buNone/>
              <a:tabLst/>
            </a:pPr>
            <a:r>
              <a:rPr lang="en-US"/>
              <a:t>Subtitle in sentence cas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34496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523178"/>
                </a:solidFill>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852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523178"/>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197208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523178"/>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4264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523178"/>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523178"/>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65344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23178"/>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6F509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5588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523178"/>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6F509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93930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523178"/>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7556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523178"/>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7749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523178"/>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425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08979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69899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523178"/>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88162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76757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523178"/>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3676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523178"/>
              </a:gs>
              <a:gs pos="100000">
                <a:srgbClr val="44286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7063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523178"/>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90766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523178"/>
              </a:gs>
              <a:gs pos="100000">
                <a:srgbClr val="44286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514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523178"/>
                </a:solidFill>
                <a:latin typeface="+mj-lt"/>
                <a:ea typeface="+mj-ea"/>
                <a:cs typeface="+mj-cs"/>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128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523178"/>
              </a:gs>
              <a:gs pos="100000">
                <a:srgbClr val="44286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49603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523178"/>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22314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523178"/>
              </a:gs>
              <a:gs pos="100000">
                <a:srgbClr val="442862"/>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2656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21664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6F509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F509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2F1C4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259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52317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26443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22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523178"/>
                </a:solidFill>
                <a:latin typeface="+mn-lt"/>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99975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7147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4573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87207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8" name="Group 17"/>
          <p:cNvGrpSpPr/>
          <p:nvPr userDrawn="1"/>
        </p:nvGrpSpPr>
        <p:grpSpPr>
          <a:xfrm>
            <a:off x="0" y="5928852"/>
            <a:ext cx="12192000" cy="958644"/>
            <a:chOff x="0" y="3695700"/>
            <a:chExt cx="12192000" cy="3162300"/>
          </a:xfrm>
        </p:grpSpPr>
        <p:sp>
          <p:nvSpPr>
            <p:cNvPr id="19" name="Rectangle 18"/>
            <p:cNvSpPr/>
            <p:nvPr userDrawn="1"/>
          </p:nvSpPr>
          <p:spPr>
            <a:xfrm>
              <a:off x="0" y="3695700"/>
              <a:ext cx="12192000" cy="3162300"/>
            </a:xfrm>
            <a:prstGeom prst="rect">
              <a:avLst/>
            </a:prstGeom>
            <a:solidFill>
              <a:srgbClr val="F2A9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sp>
          <p:nvSpPr>
            <p:cNvPr id="20" name="Rectangle 19"/>
            <p:cNvSpPr/>
            <p:nvPr userDrawn="1"/>
          </p:nvSpPr>
          <p:spPr>
            <a:xfrm>
              <a:off x="0" y="3924300"/>
              <a:ext cx="12192000" cy="2933700"/>
            </a:xfrm>
            <a:prstGeom prst="rect">
              <a:avLst/>
            </a:prstGeom>
            <a:solidFill>
              <a:srgbClr val="52317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grpSp>
      <p:grpSp>
        <p:nvGrpSpPr>
          <p:cNvPr id="21" name="Group 20"/>
          <p:cNvGrpSpPr/>
          <p:nvPr userDrawn="1"/>
        </p:nvGrpSpPr>
        <p:grpSpPr>
          <a:xfrm rot="10800000">
            <a:off x="0" y="0"/>
            <a:ext cx="12192000" cy="958644"/>
            <a:chOff x="0" y="3695700"/>
            <a:chExt cx="12192000" cy="3162300"/>
          </a:xfrm>
        </p:grpSpPr>
        <p:sp>
          <p:nvSpPr>
            <p:cNvPr id="22" name="Rectangle 21"/>
            <p:cNvSpPr/>
            <p:nvPr userDrawn="1"/>
          </p:nvSpPr>
          <p:spPr>
            <a:xfrm>
              <a:off x="0" y="3695700"/>
              <a:ext cx="12192000" cy="3162300"/>
            </a:xfrm>
            <a:prstGeom prst="rect">
              <a:avLst/>
            </a:prstGeom>
            <a:solidFill>
              <a:srgbClr val="F2A9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sp>
          <p:nvSpPr>
            <p:cNvPr id="23" name="Rectangle 22"/>
            <p:cNvSpPr/>
            <p:nvPr userDrawn="1"/>
          </p:nvSpPr>
          <p:spPr>
            <a:xfrm>
              <a:off x="0" y="3924300"/>
              <a:ext cx="12192000" cy="2933700"/>
            </a:xfrm>
            <a:prstGeom prst="rect">
              <a:avLst/>
            </a:prstGeom>
            <a:solidFill>
              <a:srgbClr val="52317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Proxima Nova Rg"/>
                <a:ea typeface="+mn-ea"/>
                <a:cs typeface="+mn-cs"/>
              </a:endParaRPr>
            </a:p>
          </p:txBody>
        </p:sp>
      </p:grpSp>
      <p:pic>
        <p:nvPicPr>
          <p:cNvPr id="24" name="Picture 23"/>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49575" y="2619375"/>
            <a:ext cx="6492850" cy="1648746"/>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28140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63812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9"/>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68271" y="1115416"/>
            <a:ext cx="2571538"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8138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99645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41436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630000" y="622800"/>
            <a:ext cx="7189998" cy="48115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544915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52881"/>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240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6F509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6F509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8"/>
            <a:ext cx="3448800" cy="3493008"/>
          </a:xfrm>
          <a:prstGeom prst="rect">
            <a:avLst/>
          </a:prstGeom>
          <a:noFill/>
          <a:ln>
            <a:solidFill>
              <a:srgbClr val="6F5091"/>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68271" y="1115416"/>
            <a:ext cx="2571538"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6F5091"/>
                </a:solidFill>
                <a:latin typeface="+mn-lt"/>
                <a:ea typeface="+mn-ea"/>
                <a:cs typeface="+mn-cs"/>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89592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6F509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6F509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37641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630000" y="622800"/>
            <a:ext cx="7189998" cy="48115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6F509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6F509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41553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9645"/>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0757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6F509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EDE50-2351-E195-9B09-16DA04F84E0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C5FD49-62FD-97E5-5D53-455013F243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B26ADC8-8CCE-EC2F-CED1-CDEA08347480}"/>
              </a:ext>
            </a:extLst>
          </p:cNvPr>
          <p:cNvSpPr>
            <a:spLocks noGrp="1"/>
          </p:cNvSpPr>
          <p:nvPr>
            <p:ph type="dt" sz="half" idx="10"/>
          </p:nvPr>
        </p:nvSpPr>
        <p:spPr/>
        <p:txBody>
          <a:bodyPr/>
          <a:lstStyle/>
          <a:p>
            <a:fld id="{5E82054C-62D0-1049-9F18-3B0BECE8E5F7}" type="datetimeFigureOut">
              <a:rPr lang="en-US" smtClean="0"/>
              <a:t>8/23/2023</a:t>
            </a:fld>
            <a:endParaRPr lang="en-US"/>
          </a:p>
        </p:txBody>
      </p:sp>
      <p:sp>
        <p:nvSpPr>
          <p:cNvPr id="5" name="Footer Placeholder 4">
            <a:extLst>
              <a:ext uri="{FF2B5EF4-FFF2-40B4-BE49-F238E27FC236}">
                <a16:creationId xmlns:a16="http://schemas.microsoft.com/office/drawing/2014/main" id="{6FC27A73-B912-2CDE-DCD0-92A6BB83A3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710869-A164-76FA-8328-D3EB1BE7E84E}"/>
              </a:ext>
            </a:extLst>
          </p:cNvPr>
          <p:cNvSpPr>
            <a:spLocks noGrp="1"/>
          </p:cNvSpPr>
          <p:nvPr>
            <p:ph type="sldNum" sz="quarter" idx="12"/>
          </p:nvPr>
        </p:nvSpPr>
        <p:spPr/>
        <p:txBody>
          <a:bodyPr/>
          <a:lstStyle/>
          <a:p>
            <a:fld id="{3CBA3240-0DEF-0E4F-94C2-D75069EEE233}" type="slidenum">
              <a:rPr lang="en-US" smtClean="0"/>
              <a:t>‹#›</a:t>
            </a:fld>
            <a:endParaRPr lang="en-US"/>
          </a:p>
        </p:txBody>
      </p:sp>
    </p:spTree>
    <p:extLst>
      <p:ext uri="{BB962C8B-B14F-4D97-AF65-F5344CB8AC3E}">
        <p14:creationId xmlns:p14="http://schemas.microsoft.com/office/powerpoint/2010/main" val="11270653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64552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523178"/>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4395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523178"/>
                </a:solidFill>
                <a:latin typeface="+mj-lt"/>
                <a:ea typeface="+mj-ea"/>
                <a:cs typeface="+mj-cs"/>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523178"/>
            </a:gs>
            <a:gs pos="100000">
              <a:srgbClr val="442862"/>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23916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4066767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9645"/>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6"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523178"/>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523178"/>
        </a:buClr>
        <a:buFont typeface="Arial" panose="020B0604020202020204" pitchFamily="34" charset="0"/>
        <a:buChar char="​"/>
        <a:defRPr lang="en-US" sz="1200" kern="1200">
          <a:solidFill>
            <a:srgbClr val="10182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523178"/>
        </a:buClr>
        <a:buFont typeface="Arial" panose="020B0604020202020204" pitchFamily="34" charset="0"/>
        <a:buChar char="•"/>
        <a:defRPr lang="en-US" sz="1200" kern="1200">
          <a:solidFill>
            <a:srgbClr val="10182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523178"/>
        </a:buClr>
        <a:buFont typeface="Trebuchet MS" panose="020B0603020202020204" pitchFamily="34" charset="0"/>
        <a:buChar char="–"/>
        <a:defRPr lang="en-US" sz="1200" kern="1200">
          <a:solidFill>
            <a:srgbClr val="10182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523178"/>
        </a:buClr>
        <a:buFont typeface="Arial" panose="020B0604020202020204" pitchFamily="34" charset="0"/>
        <a:buChar char="​"/>
        <a:defRPr lang="en-US" sz="1600" kern="1200">
          <a:solidFill>
            <a:srgbClr val="523178"/>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523178"/>
        </a:buClr>
        <a:buFont typeface="Arial" panose="020B0604020202020204" pitchFamily="34" charset="0"/>
        <a:buChar char="​"/>
        <a:defRPr lang="en-US" sz="1600" b="1" kern="1200" smtClean="0">
          <a:solidFill>
            <a:srgbClr val="10182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523178"/>
        </a:buClr>
        <a:buFont typeface="Arial" panose="020B0604020202020204" pitchFamily="34" charset="0"/>
        <a:buChar char="•"/>
        <a:defRPr lang="en-US" sz="1600" kern="1200" smtClean="0">
          <a:solidFill>
            <a:srgbClr val="10182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523178"/>
        </a:buClr>
        <a:buFont typeface="Arial" panose="020B0604020202020204" pitchFamily="34" charset="0"/>
        <a:buChar char="​"/>
        <a:defRPr lang="en-US" sz="4400" kern="1200" baseline="0" smtClean="0">
          <a:solidFill>
            <a:srgbClr val="10182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523178"/>
        </a:buClr>
        <a:buFont typeface="Arial" panose="020B0604020202020204" pitchFamily="34" charset="0"/>
        <a:buChar char="​"/>
        <a:defRPr lang="en-US" sz="5400" kern="1200" baseline="0" smtClean="0">
          <a:solidFill>
            <a:srgbClr val="523178"/>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523178"/>
        </a:buClr>
        <a:buFont typeface="Arial" panose="020B0604020202020204" pitchFamily="34" charset="0"/>
        <a:buChar char="​"/>
        <a:defRPr lang="en-US" sz="2400" kern="1200" baseline="0" dirty="0">
          <a:solidFill>
            <a:srgbClr val="523178"/>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1.xml"/><Relationship Id="rId1" Type="http://schemas.openxmlformats.org/officeDocument/2006/relationships/tags" Target="../tags/tag74.xml"/><Relationship Id="rId5" Type="http://schemas.openxmlformats.org/officeDocument/2006/relationships/image" Target="../media/image12.jpg"/><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3.emf"/><Relationship Id="rId5" Type="http://schemas.openxmlformats.org/officeDocument/2006/relationships/oleObject" Target="../embeddings/oleObject74.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54.xml"/><Relationship Id="rId4" Type="http://schemas.openxmlformats.org/officeDocument/2006/relationships/image" Target="../media/image21.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83.xml"/><Relationship Id="rId6" Type="http://schemas.openxmlformats.org/officeDocument/2006/relationships/hyperlink" Target="https://forms.ny.gov/s3/mpasurvey" TargetMode="External"/><Relationship Id="rId5" Type="http://schemas.openxmlformats.org/officeDocument/2006/relationships/image" Target="../media/image11.emf"/><Relationship Id="rId4" Type="http://schemas.openxmlformats.org/officeDocument/2006/relationships/oleObject" Target="../embeddings/oleObject75.bin"/></Relationships>
</file>

<file path=ppt/slides/_rels/slide13.xml.rels><?xml version="1.0" encoding="UTF-8" standalone="yes"?>
<Relationships xmlns="http://schemas.openxmlformats.org/package/2006/relationships"><Relationship Id="rId8" Type="http://schemas.openxmlformats.org/officeDocument/2006/relationships/hyperlink" Target="http://www.ny.gov/mpa" TargetMode="External"/><Relationship Id="rId3" Type="http://schemas.openxmlformats.org/officeDocument/2006/relationships/slideLayout" Target="../slideLayouts/slideLayout10.xml"/><Relationship Id="rId7" Type="http://schemas.openxmlformats.org/officeDocument/2006/relationships/hyperlink" Target="mailto:MPA@health.ny.gov" TargetMode="Externa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3.emf"/><Relationship Id="rId5" Type="http://schemas.openxmlformats.org/officeDocument/2006/relationships/oleObject" Target="../embeddings/oleObject76.bin"/><Relationship Id="rId10" Type="http://schemas.openxmlformats.org/officeDocument/2006/relationships/image" Target="../media/image23.jpg"/><Relationship Id="rId4" Type="http://schemas.openxmlformats.org/officeDocument/2006/relationships/notesSlide" Target="../notesSlides/notesSlide9.xml"/><Relationship Id="rId9" Type="http://schemas.openxmlformats.org/officeDocument/2006/relationships/image" Target="../media/image22.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3.emf"/><Relationship Id="rId5" Type="http://schemas.openxmlformats.org/officeDocument/2006/relationships/oleObject" Target="../embeddings/oleObject70.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5.jpg"/></Relationships>
</file>

<file path=ppt/slides/_rels/slide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17.jp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3.emf"/><Relationship Id="rId5" Type="http://schemas.openxmlformats.org/officeDocument/2006/relationships/oleObject" Target="../embeddings/oleObject72.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9.jpg"/><Relationship Id="rId2" Type="http://schemas.openxmlformats.org/officeDocument/2006/relationships/slideLayout" Target="../slideLayouts/slideLayout13.xml"/><Relationship Id="rId1" Type="http://schemas.openxmlformats.org/officeDocument/2006/relationships/tags" Target="../tags/tag80.xml"/><Relationship Id="rId6" Type="http://schemas.openxmlformats.org/officeDocument/2006/relationships/image" Target="../media/image18.jpeg"/><Relationship Id="rId5" Type="http://schemas.openxmlformats.org/officeDocument/2006/relationships/image" Target="../media/image11.emf"/><Relationship Id="rId4" Type="http://schemas.openxmlformats.org/officeDocument/2006/relationships/oleObject" Target="../embeddings/oleObject73.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636B5F-D330-46B2-9083-62B892DE29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FD636B5F-D330-46B2-9083-62B892DE2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DCAAF-2EB6-2A29-46E6-3648AC4D985D}"/>
              </a:ext>
            </a:extLst>
          </p:cNvPr>
          <p:cNvSpPr>
            <a:spLocks noGrp="1"/>
          </p:cNvSpPr>
          <p:nvPr>
            <p:ph type="ctrTitle"/>
          </p:nvPr>
        </p:nvSpPr>
        <p:spPr/>
        <p:txBody>
          <a:bodyPr/>
          <a:lstStyle/>
          <a:p>
            <a:r>
              <a:rPr lang="en-US" dirty="0"/>
              <a:t>New York State Master Plan for Aging</a:t>
            </a:r>
          </a:p>
        </p:txBody>
      </p:sp>
      <p:sp>
        <p:nvSpPr>
          <p:cNvPr id="3" name="Text Placeholder 2">
            <a:extLst>
              <a:ext uri="{FF2B5EF4-FFF2-40B4-BE49-F238E27FC236}">
                <a16:creationId xmlns:a16="http://schemas.microsoft.com/office/drawing/2014/main" id="{D507C15E-1AF5-4D2A-99B1-CD1DBADB6444}"/>
              </a:ext>
            </a:extLst>
          </p:cNvPr>
          <p:cNvSpPr>
            <a:spLocks noGrp="1"/>
          </p:cNvSpPr>
          <p:nvPr>
            <p:ph type="body" sz="quarter" idx="12"/>
          </p:nvPr>
        </p:nvSpPr>
        <p:spPr/>
        <p:txBody>
          <a:bodyPr/>
          <a:lstStyle/>
          <a:p>
            <a:r>
              <a:rPr lang="en-US" b="0" dirty="0">
                <a:latin typeface="Arial" panose="020B0604020202020204" pitchFamily="34" charset="0"/>
                <a:cs typeface="Arial" panose="020B0604020202020204" pitchFamily="34" charset="0"/>
              </a:rPr>
              <a:t> </a:t>
            </a:r>
          </a:p>
        </p:txBody>
      </p:sp>
      <p:sp>
        <p:nvSpPr>
          <p:cNvPr id="5" name="TextBox 4">
            <a:extLst>
              <a:ext uri="{FF2B5EF4-FFF2-40B4-BE49-F238E27FC236}">
                <a16:creationId xmlns:a16="http://schemas.microsoft.com/office/drawing/2014/main" id="{42274608-1A18-E6E0-8B66-13F139AFB0E3}"/>
              </a:ext>
            </a:extLst>
          </p:cNvPr>
          <p:cNvSpPr txBox="1"/>
          <p:nvPr/>
        </p:nvSpPr>
        <p:spPr>
          <a:xfrm>
            <a:off x="3657600" y="164989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a:solidFill>
                <a:srgbClr val="101820"/>
              </a:solidFill>
            </a:endParaRPr>
          </a:p>
        </p:txBody>
      </p:sp>
      <p:sp>
        <p:nvSpPr>
          <p:cNvPr id="8" name="TextBox 7">
            <a:extLst>
              <a:ext uri="{FF2B5EF4-FFF2-40B4-BE49-F238E27FC236}">
                <a16:creationId xmlns:a16="http://schemas.microsoft.com/office/drawing/2014/main" id="{252F3826-3A71-867E-8177-F045ADF73294}"/>
              </a:ext>
            </a:extLst>
          </p:cNvPr>
          <p:cNvSpPr txBox="1"/>
          <p:nvPr/>
        </p:nvSpPr>
        <p:spPr>
          <a:xfrm>
            <a:off x="3677478" y="107342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a:solidFill>
                <a:srgbClr val="101820"/>
              </a:solidFill>
            </a:endParaRPr>
          </a:p>
        </p:txBody>
      </p:sp>
      <p:sp>
        <p:nvSpPr>
          <p:cNvPr id="9" name="TextBox 8">
            <a:extLst>
              <a:ext uri="{FF2B5EF4-FFF2-40B4-BE49-F238E27FC236}">
                <a16:creationId xmlns:a16="http://schemas.microsoft.com/office/drawing/2014/main" id="{803824E7-23D6-CDF5-FCA1-997FCFE50B51}"/>
              </a:ext>
            </a:extLst>
          </p:cNvPr>
          <p:cNvSpPr txBox="1"/>
          <p:nvPr/>
        </p:nvSpPr>
        <p:spPr>
          <a:xfrm>
            <a:off x="2951922" y="130202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a:solidFill>
                <a:srgbClr val="101820"/>
              </a:solidFill>
            </a:endParaRPr>
          </a:p>
        </p:txBody>
      </p:sp>
      <p:sp>
        <p:nvSpPr>
          <p:cNvPr id="10" name="TextBox 9">
            <a:extLst>
              <a:ext uri="{FF2B5EF4-FFF2-40B4-BE49-F238E27FC236}">
                <a16:creationId xmlns:a16="http://schemas.microsoft.com/office/drawing/2014/main" id="{B34B606B-4C14-8309-A658-E862A2B63D89}"/>
              </a:ext>
            </a:extLst>
          </p:cNvPr>
          <p:cNvSpPr txBox="1"/>
          <p:nvPr/>
        </p:nvSpPr>
        <p:spPr>
          <a:xfrm>
            <a:off x="3846443" y="159026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a:solidFill>
                <a:srgbClr val="101820"/>
              </a:solidFill>
            </a:endParaRPr>
          </a:p>
        </p:txBody>
      </p:sp>
      <p:sp>
        <p:nvSpPr>
          <p:cNvPr id="20" name="Subtitle 3">
            <a:extLst>
              <a:ext uri="{FF2B5EF4-FFF2-40B4-BE49-F238E27FC236}">
                <a16:creationId xmlns:a16="http://schemas.microsoft.com/office/drawing/2014/main" id="{3E1CA81C-56F7-413F-9148-6D2845C04E8A}"/>
              </a:ext>
            </a:extLst>
          </p:cNvPr>
          <p:cNvSpPr txBox="1">
            <a:spLocks/>
          </p:cNvSpPr>
          <p:nvPr/>
        </p:nvSpPr>
        <p:spPr bwMode="white">
          <a:xfrm>
            <a:off x="626257" y="4504258"/>
            <a:ext cx="3443549" cy="1510411"/>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Clr>
                <a:srgbClr val="523178"/>
              </a:buClr>
              <a:buFont typeface="Arial" panose="020B0604020202020204" pitchFamily="34" charset="0"/>
              <a:buChar char="​"/>
              <a:defRPr kumimoji="0" lang="en-US" sz="1600" b="0" i="0" u="none" strike="noStrike" kern="1200" cap="none" spc="0" normalizeH="0" baseline="0" dirty="0">
                <a:ln>
                  <a:noFill/>
                </a:ln>
                <a:solidFill>
                  <a:srgbClr val="FFFFFF"/>
                </a:solidFill>
                <a:effectLst/>
                <a:uLnTx/>
                <a:uFillTx/>
                <a:latin typeface="Proxima Nova Rg"/>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523178"/>
              </a:buClr>
              <a:buFont typeface="Arial" panose="020B0604020202020204" pitchFamily="34" charset="0"/>
              <a:buChar char="•"/>
              <a:defRPr lang="en-US" sz="1200" kern="1200">
                <a:solidFill>
                  <a:srgbClr val="10182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523178"/>
              </a:buClr>
              <a:buFont typeface="Trebuchet MS" panose="020B0603020202020204" pitchFamily="34" charset="0"/>
              <a:buChar char="–"/>
              <a:defRPr lang="en-US" sz="1200" kern="1200">
                <a:solidFill>
                  <a:srgbClr val="10182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523178"/>
              </a:buClr>
              <a:buFont typeface="Arial" panose="020B0604020202020204" pitchFamily="34" charset="0"/>
              <a:buChar char="​"/>
              <a:defRPr lang="en-US" sz="1600" kern="1200">
                <a:solidFill>
                  <a:srgbClr val="523178"/>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523178"/>
              </a:buClr>
              <a:buFont typeface="Arial" panose="020B0604020202020204" pitchFamily="34" charset="0"/>
              <a:buChar char="​"/>
              <a:defRPr lang="en-US" sz="1600" b="1" kern="1200" smtClean="0">
                <a:solidFill>
                  <a:srgbClr val="10182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523178"/>
              </a:buClr>
              <a:buFont typeface="Arial" panose="020B0604020202020204" pitchFamily="34" charset="0"/>
              <a:buChar char="•"/>
              <a:defRPr lang="en-US" sz="1600" kern="1200" smtClean="0">
                <a:solidFill>
                  <a:srgbClr val="10182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523178"/>
              </a:buClr>
              <a:buFont typeface="Arial" panose="020B0604020202020204" pitchFamily="34" charset="0"/>
              <a:buChar char="​"/>
              <a:defRPr lang="en-US" sz="4400" kern="1200" baseline="0" smtClean="0">
                <a:solidFill>
                  <a:srgbClr val="10182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523178"/>
              </a:buClr>
              <a:buFont typeface="Arial" panose="020B0604020202020204" pitchFamily="34" charset="0"/>
              <a:buChar char="​"/>
              <a:defRPr lang="en-US" sz="5400" kern="1200" baseline="0" smtClean="0">
                <a:solidFill>
                  <a:srgbClr val="523178"/>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523178"/>
              </a:buClr>
              <a:buFont typeface="Arial" panose="020B0604020202020204" pitchFamily="34" charset="0"/>
              <a:buChar char="​"/>
              <a:defRPr lang="en-US" sz="2400" kern="1200" baseline="0" dirty="0">
                <a:solidFill>
                  <a:srgbClr val="523178"/>
                </a:solidFill>
                <a:latin typeface="+mn-lt"/>
                <a:ea typeface="+mn-ea"/>
                <a:cs typeface="+mn-cs"/>
                <a:sym typeface="Trebuchet MS" panose="020B0603020202020204" pitchFamily="34" charset="0"/>
              </a:defRPr>
            </a:lvl9pPr>
          </a:lstStyle>
          <a:p>
            <a:endParaRPr lang="en-US"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a:p>
            <a:r>
              <a:rPr lang="en-US" sz="1800" b="1" dirty="0">
                <a:latin typeface="Arial" panose="020B0604020202020204" pitchFamily="34" charset="0"/>
                <a:cs typeface="Arial" panose="020B0604020202020204" pitchFamily="34" charset="0"/>
              </a:rPr>
              <a:t>Adam Herbst</a:t>
            </a:r>
            <a:br>
              <a:rPr lang="en-US" dirty="0">
                <a:latin typeface="Arial" panose="020B0604020202020204" pitchFamily="34" charset="0"/>
                <a:cs typeface="Arial" panose="020B0604020202020204" pitchFamily="34" charset="0"/>
              </a:rPr>
            </a:br>
            <a:r>
              <a:rPr lang="en-US" i="1" dirty="0">
                <a:latin typeface="Arial" panose="020B0604020202020204" pitchFamily="34" charset="0"/>
                <a:cs typeface="Arial" panose="020B0604020202020204" pitchFamily="34" charset="0"/>
              </a:rPr>
              <a:t>Deputy Commissioner</a:t>
            </a:r>
            <a:br>
              <a:rPr lang="en-US" i="1" dirty="0">
                <a:latin typeface="Arial" panose="020B0604020202020204" pitchFamily="34" charset="0"/>
                <a:cs typeface="Arial" panose="020B0604020202020204" pitchFamily="34" charset="0"/>
              </a:rPr>
            </a:br>
            <a:r>
              <a:rPr lang="en-US" i="1" dirty="0">
                <a:latin typeface="Arial" panose="020B0604020202020204" pitchFamily="34" charset="0"/>
                <a:cs typeface="Arial" panose="020B0604020202020204" pitchFamily="34" charset="0"/>
              </a:rPr>
              <a:t>New York State Department of Health</a:t>
            </a:r>
          </a:p>
          <a:p>
            <a:endParaRPr lang="en-US" dirty="0"/>
          </a:p>
        </p:txBody>
      </p:sp>
      <p:pic>
        <p:nvPicPr>
          <p:cNvPr id="7" name="Picture 6" descr="A black and white sign&#10;&#10;Description automatically generated with low confidence">
            <a:extLst>
              <a:ext uri="{FF2B5EF4-FFF2-40B4-BE49-F238E27FC236}">
                <a16:creationId xmlns:a16="http://schemas.microsoft.com/office/drawing/2014/main" id="{45154746-CC52-3E35-3923-4090001B35EE}"/>
              </a:ext>
            </a:extLst>
          </p:cNvPr>
          <p:cNvPicPr>
            <a:picLocks noChangeAspect="1"/>
          </p:cNvPicPr>
          <p:nvPr/>
        </p:nvPicPr>
        <p:blipFill>
          <a:blip r:embed="rId5"/>
          <a:stretch>
            <a:fillRect/>
          </a:stretch>
        </p:blipFill>
        <p:spPr>
          <a:xfrm>
            <a:off x="640771" y="833147"/>
            <a:ext cx="4700016" cy="1228344"/>
          </a:xfrm>
          <a:prstGeom prst="rect">
            <a:avLst/>
          </a:prstGeom>
        </p:spPr>
      </p:pic>
    </p:spTree>
    <p:extLst>
      <p:ext uri="{BB962C8B-B14F-4D97-AF65-F5344CB8AC3E}">
        <p14:creationId xmlns:p14="http://schemas.microsoft.com/office/powerpoint/2010/main" val="646532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2E27E-2C8F-467D-8FC0-3C0C02B8B5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0E2E27E-2C8F-467D-8FC0-3C0C02B8B5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CBF924E3-C6E6-4A34-A754-92A38FCBC1CD}"/>
              </a:ext>
            </a:extLst>
          </p:cNvPr>
          <p:cNvSpPr txBox="1"/>
          <p:nvPr/>
        </p:nvSpPr>
        <p:spPr>
          <a:xfrm>
            <a:off x="499331" y="1566644"/>
            <a:ext cx="3087149" cy="372471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dirty="0">
                <a:solidFill>
                  <a:srgbClr val="FFFFFF"/>
                </a:solidFill>
                <a:latin typeface="Arial"/>
                <a:cs typeface="Arial"/>
              </a:rPr>
              <a:t>Foundational</a:t>
            </a:r>
          </a:p>
          <a:p>
            <a:pPr algn="ctr"/>
            <a:r>
              <a:rPr lang="en-US" sz="3600" dirty="0">
                <a:solidFill>
                  <a:srgbClr val="FFFFFF"/>
                </a:solidFill>
                <a:latin typeface="Arial"/>
                <a:cs typeface="Arial"/>
              </a:rPr>
              <a:t>Pillars to Support</a:t>
            </a:r>
          </a:p>
          <a:p>
            <a:pPr algn="ctr"/>
            <a:r>
              <a:rPr lang="en-US" sz="3600" dirty="0">
                <a:solidFill>
                  <a:srgbClr val="FFFFFF"/>
                </a:solidFill>
                <a:latin typeface="Arial"/>
                <a:cs typeface="Arial"/>
              </a:rPr>
              <a:t>the</a:t>
            </a:r>
          </a:p>
          <a:p>
            <a:pPr algn="ctr"/>
            <a:r>
              <a:rPr lang="en-US" sz="3600" dirty="0">
                <a:solidFill>
                  <a:srgbClr val="FFFFFF"/>
                </a:solidFill>
                <a:latin typeface="Arial"/>
                <a:cs typeface="Arial"/>
              </a:rPr>
              <a:t>MPA</a:t>
            </a:r>
          </a:p>
        </p:txBody>
      </p:sp>
      <p:sp>
        <p:nvSpPr>
          <p:cNvPr id="5" name="TextBox 4">
            <a:extLst>
              <a:ext uri="{FF2B5EF4-FFF2-40B4-BE49-F238E27FC236}">
                <a16:creationId xmlns:a16="http://schemas.microsoft.com/office/drawing/2014/main" id="{34E10425-9826-4C76-A763-90CB52E205F7}"/>
              </a:ext>
            </a:extLst>
          </p:cNvPr>
          <p:cNvSpPr txBox="1"/>
          <p:nvPr/>
        </p:nvSpPr>
        <p:spPr>
          <a:xfrm>
            <a:off x="4557693" y="613971"/>
            <a:ext cx="7412787" cy="64140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14400" lvl="1" indent="-457200">
              <a:spcAft>
                <a:spcPts val="600"/>
              </a:spcAft>
              <a:buFont typeface="+mj-lt"/>
              <a:buAutoNum type="arabicPeriod"/>
            </a:pPr>
            <a:r>
              <a:rPr lang="en-US" sz="2400" dirty="0">
                <a:solidFill>
                  <a:schemeClr val="tx1"/>
                </a:solidFill>
                <a:cs typeface="Arial"/>
              </a:rPr>
              <a:t>Housing access and community planning</a:t>
            </a:r>
          </a:p>
          <a:p>
            <a:pPr marL="914400" lvl="1" indent="-457200">
              <a:spcAft>
                <a:spcPts val="600"/>
              </a:spcAft>
              <a:buFont typeface="+mj-lt"/>
              <a:buAutoNum type="arabicPeriod"/>
            </a:pPr>
            <a:r>
              <a:rPr lang="en-US" sz="2400" dirty="0">
                <a:solidFill>
                  <a:schemeClr val="tx1"/>
                </a:solidFill>
                <a:cs typeface="Arial"/>
              </a:rPr>
              <a:t>Informal caregiver and workforce support</a:t>
            </a:r>
          </a:p>
          <a:p>
            <a:pPr marL="914400" lvl="1" indent="-457200">
              <a:spcAft>
                <a:spcPts val="600"/>
              </a:spcAft>
              <a:buFont typeface="+mj-lt"/>
              <a:buAutoNum type="arabicPeriod"/>
            </a:pPr>
            <a:r>
              <a:rPr lang="en-US" sz="2400" dirty="0">
                <a:solidFill>
                  <a:schemeClr val="tx1"/>
                </a:solidFill>
                <a:cs typeface="Arial"/>
              </a:rPr>
              <a:t>Affordability of basic necessities for older adults</a:t>
            </a:r>
          </a:p>
          <a:p>
            <a:pPr marL="914400" lvl="1" indent="-457200">
              <a:spcAft>
                <a:spcPts val="600"/>
              </a:spcAft>
              <a:buFont typeface="+mj-lt"/>
              <a:buAutoNum type="arabicPeriod"/>
            </a:pPr>
            <a:r>
              <a:rPr lang="en-US" sz="2400" dirty="0">
                <a:solidFill>
                  <a:schemeClr val="tx1"/>
                </a:solidFill>
                <a:cs typeface="Arial"/>
              </a:rPr>
              <a:t>Access to services in and engagement with historically marginalized communities</a:t>
            </a:r>
          </a:p>
          <a:p>
            <a:pPr marL="914400" lvl="1" indent="-457200">
              <a:spcAft>
                <a:spcPts val="600"/>
              </a:spcAft>
              <a:buFont typeface="+mj-lt"/>
              <a:buAutoNum type="arabicPeriod"/>
            </a:pPr>
            <a:r>
              <a:rPr lang="en-US" sz="2400" dirty="0">
                <a:solidFill>
                  <a:schemeClr val="tx1"/>
                </a:solidFill>
                <a:cs typeface="Arial"/>
              </a:rPr>
              <a:t>Modernization and financial sustainability of healthcare, residential facilities, and community-based aging network service providers</a:t>
            </a:r>
          </a:p>
          <a:p>
            <a:pPr marL="914400" lvl="1" indent="-457200">
              <a:spcAft>
                <a:spcPts val="600"/>
              </a:spcAft>
              <a:buFont typeface="+mj-lt"/>
              <a:buAutoNum type="arabicPeriod"/>
            </a:pPr>
            <a:r>
              <a:rPr lang="en-US" sz="2400" dirty="0">
                <a:solidFill>
                  <a:schemeClr val="tx1"/>
                </a:solidFill>
                <a:cs typeface="Arial"/>
              </a:rPr>
              <a:t>Social engagement of older adults</a:t>
            </a:r>
          </a:p>
          <a:p>
            <a:pPr marL="914400" lvl="1" indent="-457200">
              <a:spcAft>
                <a:spcPts val="600"/>
              </a:spcAft>
              <a:buFont typeface="+mj-lt"/>
              <a:buAutoNum type="arabicPeriod"/>
            </a:pPr>
            <a:r>
              <a:rPr lang="en-US" sz="2400" dirty="0">
                <a:solidFill>
                  <a:schemeClr val="tx1"/>
                </a:solidFill>
                <a:cs typeface="Arial"/>
              </a:rPr>
              <a:t>Promoting health and access to services and supports in rural communities </a:t>
            </a:r>
          </a:p>
          <a:p>
            <a:pPr marL="914400" lvl="1" indent="-457200">
              <a:spcAft>
                <a:spcPts val="600"/>
              </a:spcAft>
              <a:buFont typeface="+mj-lt"/>
              <a:buAutoNum type="arabicPeriod"/>
            </a:pPr>
            <a:r>
              <a:rPr lang="en-US" sz="2400" dirty="0">
                <a:solidFill>
                  <a:schemeClr val="tx1"/>
                </a:solidFill>
                <a:cs typeface="Arial"/>
              </a:rPr>
              <a:t>Combating elder abuse, ageism, and ableism </a:t>
            </a:r>
          </a:p>
          <a:p>
            <a:pPr marL="914400" lvl="1" indent="-457200">
              <a:spcAft>
                <a:spcPts val="600"/>
              </a:spcAft>
              <a:buFont typeface="+mj-lt"/>
              <a:buAutoNum type="arabicPeriod"/>
            </a:pPr>
            <a:r>
              <a:rPr lang="en-US" sz="2400" dirty="0">
                <a:solidFill>
                  <a:schemeClr val="tx1"/>
                </a:solidFill>
                <a:cs typeface="Arial"/>
              </a:rPr>
              <a:t>Technology access and development</a:t>
            </a:r>
          </a:p>
          <a:p>
            <a:pPr marL="914400" lvl="1" indent="-457200">
              <a:spcAft>
                <a:spcPts val="600"/>
              </a:spcAft>
              <a:buFont typeface="+mj-lt"/>
              <a:buAutoNum type="arabicPeriod"/>
            </a:pPr>
            <a:r>
              <a:rPr lang="en-US" sz="2400" dirty="0">
                <a:solidFill>
                  <a:schemeClr val="tx1"/>
                </a:solidFill>
                <a:cs typeface="Arial"/>
              </a:rPr>
              <a:t>Prevention and wellness promotion and access</a:t>
            </a:r>
          </a:p>
          <a:p>
            <a:pPr lvl="1">
              <a:spcAft>
                <a:spcPts val="600"/>
              </a:spcAft>
            </a:pPr>
            <a:r>
              <a:rPr lang="en-US" sz="2000" i="1" dirty="0">
                <a:solidFill>
                  <a:schemeClr val="tx1"/>
                </a:solidFill>
                <a:cs typeface="Arial"/>
              </a:rPr>
              <a:t>The MPA Subcommittees will develop recommendations that are linked to each of these pillars.</a:t>
            </a:r>
          </a:p>
          <a:p>
            <a:pPr lvl="1"/>
            <a:endParaRPr lang="en-US" sz="2000" dirty="0">
              <a:solidFill>
                <a:schemeClr val="tx1"/>
              </a:solidFill>
              <a:latin typeface="Arial"/>
              <a:cs typeface="Arial"/>
            </a:endParaRPr>
          </a:p>
        </p:txBody>
      </p:sp>
    </p:spTree>
    <p:custDataLst>
      <p:tags r:id="rId1"/>
    </p:custDataLst>
    <p:extLst>
      <p:ext uri="{BB962C8B-B14F-4D97-AF65-F5344CB8AC3E}">
        <p14:creationId xmlns:p14="http://schemas.microsoft.com/office/powerpoint/2010/main" val="3606338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0" y="0"/>
            <a:ext cx="3429000" cy="6858000"/>
          </a:xfrm>
          <a:custGeom>
            <a:avLst/>
            <a:gdLst>
              <a:gd name="connsiteX0" fmla="*/ 0 w 6858000"/>
              <a:gd name="connsiteY0" fmla="*/ 3429000 h 6858000"/>
              <a:gd name="connsiteX1" fmla="*/ 3429000 w 6858000"/>
              <a:gd name="connsiteY1" fmla="*/ 0 h 6858000"/>
              <a:gd name="connsiteX2" fmla="*/ 6858000 w 6858000"/>
              <a:gd name="connsiteY2" fmla="*/ 3429000 h 6858000"/>
              <a:gd name="connsiteX3" fmla="*/ 3429000 w 6858000"/>
              <a:gd name="connsiteY3" fmla="*/ 6858000 h 6858000"/>
              <a:gd name="connsiteX4" fmla="*/ 0 w 6858000"/>
              <a:gd name="connsiteY4" fmla="*/ 3429000 h 6858000"/>
              <a:gd name="connsiteX0" fmla="*/ 3429000 w 6858000"/>
              <a:gd name="connsiteY0" fmla="*/ 0 h 6858000"/>
              <a:gd name="connsiteX1" fmla="*/ 6858000 w 6858000"/>
              <a:gd name="connsiteY1" fmla="*/ 3429000 h 6858000"/>
              <a:gd name="connsiteX2" fmla="*/ 3429000 w 6858000"/>
              <a:gd name="connsiteY2" fmla="*/ 6858000 h 6858000"/>
              <a:gd name="connsiteX3" fmla="*/ 0 w 6858000"/>
              <a:gd name="connsiteY3" fmla="*/ 3429000 h 6858000"/>
              <a:gd name="connsiteX4" fmla="*/ 3520440 w 6858000"/>
              <a:gd name="connsiteY4" fmla="*/ 91440 h 6858000"/>
              <a:gd name="connsiteX0" fmla="*/ 3429000 w 6858000"/>
              <a:gd name="connsiteY0" fmla="*/ 0 h 6858000"/>
              <a:gd name="connsiteX1" fmla="*/ 6858000 w 6858000"/>
              <a:gd name="connsiteY1" fmla="*/ 3429000 h 6858000"/>
              <a:gd name="connsiteX2" fmla="*/ 3429000 w 6858000"/>
              <a:gd name="connsiteY2" fmla="*/ 6858000 h 6858000"/>
              <a:gd name="connsiteX3" fmla="*/ 0 w 6858000"/>
              <a:gd name="connsiteY3" fmla="*/ 3429000 h 6858000"/>
              <a:gd name="connsiteX0" fmla="*/ 0 w 3429000"/>
              <a:gd name="connsiteY0" fmla="*/ 0 h 6858000"/>
              <a:gd name="connsiteX1" fmla="*/ 3429000 w 3429000"/>
              <a:gd name="connsiteY1" fmla="*/ 3429000 h 6858000"/>
              <a:gd name="connsiteX2" fmla="*/ 0 w 3429000"/>
              <a:gd name="connsiteY2" fmla="*/ 6858000 h 6858000"/>
            </a:gdLst>
            <a:ahLst/>
            <a:cxnLst>
              <a:cxn ang="0">
                <a:pos x="connsiteX0" y="connsiteY0"/>
              </a:cxn>
              <a:cxn ang="0">
                <a:pos x="connsiteX1" y="connsiteY1"/>
              </a:cxn>
              <a:cxn ang="0">
                <a:pos x="connsiteX2" y="connsiteY2"/>
              </a:cxn>
            </a:cxnLst>
            <a:rect l="l" t="t" r="r" b="b"/>
            <a:pathLst>
              <a:path w="3429000" h="6858000">
                <a:moveTo>
                  <a:pt x="0" y="0"/>
                </a:moveTo>
                <a:cubicBezTo>
                  <a:pt x="1893784" y="0"/>
                  <a:pt x="3429000" y="1535216"/>
                  <a:pt x="3429000" y="3429000"/>
                </a:cubicBezTo>
                <a:cubicBezTo>
                  <a:pt x="3429000" y="5322784"/>
                  <a:pt x="1893784" y="6858000"/>
                  <a:pt x="0" y="6858000"/>
                </a:cubicBezTo>
              </a:path>
            </a:pathLst>
          </a:custGeom>
          <a:noFill/>
          <a:ln w="38100"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5" name="Oval 4"/>
          <p:cNvSpPr/>
          <p:nvPr/>
        </p:nvSpPr>
        <p:spPr>
          <a:xfrm>
            <a:off x="617517" y="265244"/>
            <a:ext cx="1991308" cy="1207923"/>
          </a:xfrm>
          <a:prstGeom prst="ellipse">
            <a:avLst/>
          </a:prstGeom>
          <a:solidFill>
            <a:srgbClr val="878CB4"/>
          </a:solidFill>
          <a:ln w="38100"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US" dirty="0">
                <a:solidFill>
                  <a:schemeClr val="bg1"/>
                </a:solidFill>
                <a:latin typeface="Arial" panose="020B0604020202020204" pitchFamily="34" charset="0"/>
                <a:cs typeface="Arial" panose="020B0604020202020204" pitchFamily="34" charset="0"/>
              </a:rPr>
              <a:t>Late 2022/ Early 2023</a:t>
            </a:r>
          </a:p>
        </p:txBody>
      </p:sp>
      <p:sp>
        <p:nvSpPr>
          <p:cNvPr id="6" name="Oval 5"/>
          <p:cNvSpPr/>
          <p:nvPr/>
        </p:nvSpPr>
        <p:spPr>
          <a:xfrm>
            <a:off x="2308861" y="3245298"/>
            <a:ext cx="1689776" cy="904728"/>
          </a:xfrm>
          <a:prstGeom prst="ellipse">
            <a:avLst/>
          </a:prstGeom>
          <a:solidFill>
            <a:srgbClr val="878CB4"/>
          </a:solidFill>
          <a:ln w="38100"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US" dirty="0">
                <a:solidFill>
                  <a:schemeClr val="bg1"/>
                </a:solidFill>
                <a:latin typeface="Arial" panose="020B0604020202020204" pitchFamily="34" charset="0"/>
                <a:cs typeface="Arial" panose="020B0604020202020204" pitchFamily="34" charset="0"/>
              </a:rPr>
              <a:t>Throughout</a:t>
            </a:r>
            <a:r>
              <a:rPr lang="en-US" dirty="0">
                <a:solidFill>
                  <a:srgbClr val="FF0000"/>
                </a:solidFill>
                <a:latin typeface="Arial" panose="020B0604020202020204" pitchFamily="34" charset="0"/>
                <a:cs typeface="Arial" panose="020B0604020202020204" pitchFamily="34" charset="0"/>
              </a:rPr>
              <a:t> </a:t>
            </a:r>
            <a:r>
              <a:rPr lang="en-US" dirty="0">
                <a:solidFill>
                  <a:srgbClr val="FFFFFF"/>
                </a:solidFill>
                <a:latin typeface="Arial" panose="020B0604020202020204" pitchFamily="34" charset="0"/>
                <a:cs typeface="Arial" panose="020B0604020202020204" pitchFamily="34" charset="0"/>
              </a:rPr>
              <a:t> 2023</a:t>
            </a:r>
          </a:p>
        </p:txBody>
      </p:sp>
      <p:sp>
        <p:nvSpPr>
          <p:cNvPr id="7" name="Oval 6"/>
          <p:cNvSpPr/>
          <p:nvPr/>
        </p:nvSpPr>
        <p:spPr>
          <a:xfrm>
            <a:off x="2498614" y="4720098"/>
            <a:ext cx="945027" cy="904728"/>
          </a:xfrm>
          <a:prstGeom prst="ellipse">
            <a:avLst/>
          </a:prstGeom>
          <a:solidFill>
            <a:srgbClr val="878CB4"/>
          </a:solidFill>
          <a:ln w="38100"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US" dirty="0">
                <a:solidFill>
                  <a:schemeClr val="bg1"/>
                </a:solidFill>
                <a:latin typeface="Arial" panose="020B0604020202020204" pitchFamily="34" charset="0"/>
                <a:cs typeface="Arial" panose="020B0604020202020204" pitchFamily="34" charset="0"/>
              </a:rPr>
              <a:t>Early</a:t>
            </a:r>
            <a:r>
              <a:rPr lang="en-US" dirty="0">
                <a:solidFill>
                  <a:srgbClr val="FFFFFF"/>
                </a:solidFill>
                <a:latin typeface="Arial" panose="020B0604020202020204" pitchFamily="34" charset="0"/>
                <a:cs typeface="Arial" panose="020B0604020202020204" pitchFamily="34" charset="0"/>
              </a:rPr>
              <a:t> 2024</a:t>
            </a:r>
          </a:p>
        </p:txBody>
      </p:sp>
      <p:sp>
        <p:nvSpPr>
          <p:cNvPr id="8" name="Oval 7"/>
          <p:cNvSpPr/>
          <p:nvPr/>
        </p:nvSpPr>
        <p:spPr>
          <a:xfrm>
            <a:off x="1476396" y="5809756"/>
            <a:ext cx="945027" cy="904728"/>
          </a:xfrm>
          <a:prstGeom prst="ellipse">
            <a:avLst/>
          </a:prstGeom>
          <a:solidFill>
            <a:srgbClr val="878CB4"/>
          </a:solidFill>
          <a:ln w="38100"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US" dirty="0">
                <a:solidFill>
                  <a:schemeClr val="bg1"/>
                </a:solidFill>
                <a:latin typeface="Arial" panose="020B0604020202020204" pitchFamily="34" charset="0"/>
                <a:cs typeface="Arial" panose="020B0604020202020204" pitchFamily="34" charset="0"/>
              </a:rPr>
              <a:t>Early </a:t>
            </a:r>
            <a:r>
              <a:rPr lang="en-US" dirty="0">
                <a:solidFill>
                  <a:srgbClr val="FF0000"/>
                </a:solidFill>
                <a:latin typeface="Arial" panose="020B0604020202020204" pitchFamily="34" charset="0"/>
                <a:cs typeface="Arial" panose="020B0604020202020204" pitchFamily="34" charset="0"/>
              </a:rPr>
              <a:t> </a:t>
            </a:r>
            <a:r>
              <a:rPr lang="en-US" dirty="0">
                <a:solidFill>
                  <a:srgbClr val="FFFFFF"/>
                </a:solidFill>
                <a:latin typeface="Arial" panose="020B0604020202020204" pitchFamily="34" charset="0"/>
                <a:cs typeface="Arial" panose="020B0604020202020204" pitchFamily="34" charset="0"/>
              </a:rPr>
              <a:t> 2025</a:t>
            </a:r>
          </a:p>
        </p:txBody>
      </p:sp>
      <p:grpSp>
        <p:nvGrpSpPr>
          <p:cNvPr id="14" name="Group 13"/>
          <p:cNvGrpSpPr/>
          <p:nvPr/>
        </p:nvGrpSpPr>
        <p:grpSpPr>
          <a:xfrm rot="6695090">
            <a:off x="865618" y="34737"/>
            <a:ext cx="233326" cy="233326"/>
            <a:chOff x="10970573" y="2084388"/>
            <a:chExt cx="269875" cy="269875"/>
          </a:xfrm>
        </p:grpSpPr>
        <p:sp>
          <p:nvSpPr>
            <p:cNvPr id="15" name="Oval 54"/>
            <p:cNvSpPr>
              <a:spLocks noChangeArrowheads="1"/>
            </p:cNvSpPr>
            <p:nvPr/>
          </p:nvSpPr>
          <p:spPr bwMode="auto">
            <a:xfrm>
              <a:off x="10970573" y="2084388"/>
              <a:ext cx="269875" cy="269875"/>
            </a:xfrm>
            <a:prstGeom prst="ellipse">
              <a:avLst/>
            </a:prstGeom>
            <a:solidFill>
              <a:srgbClr val="FFFFFF"/>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6" name="Freeform 55"/>
            <p:cNvSpPr>
              <a:spLocks/>
            </p:cNvSpPr>
            <p:nvPr/>
          </p:nvSpPr>
          <p:spPr bwMode="auto">
            <a:xfrm>
              <a:off x="11018198" y="2160588"/>
              <a:ext cx="174625" cy="96837"/>
            </a:xfrm>
            <a:custGeom>
              <a:avLst/>
              <a:gdLst>
                <a:gd name="T0" fmla="*/ 55 w 110"/>
                <a:gd name="T1" fmla="*/ 0 h 61"/>
                <a:gd name="T2" fmla="*/ 49 w 110"/>
                <a:gd name="T3" fmla="*/ 7 h 61"/>
                <a:gd name="T4" fmla="*/ 0 w 110"/>
                <a:gd name="T5" fmla="*/ 55 h 61"/>
                <a:gd name="T6" fmla="*/ 7 w 110"/>
                <a:gd name="T7" fmla="*/ 61 h 61"/>
                <a:gd name="T8" fmla="*/ 55 w 110"/>
                <a:gd name="T9" fmla="*/ 13 h 61"/>
                <a:gd name="T10" fmla="*/ 103 w 110"/>
                <a:gd name="T11" fmla="*/ 61 h 61"/>
                <a:gd name="T12" fmla="*/ 110 w 110"/>
                <a:gd name="T13" fmla="*/ 55 h 61"/>
                <a:gd name="T14" fmla="*/ 62 w 110"/>
                <a:gd name="T15" fmla="*/ 7 h 61"/>
                <a:gd name="T16" fmla="*/ 55 w 11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1">
                  <a:moveTo>
                    <a:pt x="55" y="0"/>
                  </a:moveTo>
                  <a:lnTo>
                    <a:pt x="49" y="7"/>
                  </a:lnTo>
                  <a:lnTo>
                    <a:pt x="0" y="55"/>
                  </a:lnTo>
                  <a:lnTo>
                    <a:pt x="7" y="61"/>
                  </a:lnTo>
                  <a:lnTo>
                    <a:pt x="55" y="13"/>
                  </a:lnTo>
                  <a:lnTo>
                    <a:pt x="103" y="61"/>
                  </a:lnTo>
                  <a:lnTo>
                    <a:pt x="110" y="55"/>
                  </a:lnTo>
                  <a:lnTo>
                    <a:pt x="62" y="7"/>
                  </a:lnTo>
                  <a:lnTo>
                    <a:pt x="55" y="0"/>
                  </a:lnTo>
                  <a:close/>
                </a:path>
              </a:pathLst>
            </a:custGeom>
            <a:solidFill>
              <a:srgbClr val="29BA74"/>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p:cNvGrpSpPr/>
          <p:nvPr/>
        </p:nvGrpSpPr>
        <p:grpSpPr>
          <a:xfrm rot="8672409">
            <a:off x="2691760" y="1383304"/>
            <a:ext cx="233326" cy="233326"/>
            <a:chOff x="10970573" y="2084388"/>
            <a:chExt cx="269875" cy="269875"/>
          </a:xfrm>
        </p:grpSpPr>
        <p:sp>
          <p:nvSpPr>
            <p:cNvPr id="18" name="Oval 54"/>
            <p:cNvSpPr>
              <a:spLocks noChangeArrowheads="1"/>
            </p:cNvSpPr>
            <p:nvPr/>
          </p:nvSpPr>
          <p:spPr bwMode="auto">
            <a:xfrm>
              <a:off x="10970573" y="2084388"/>
              <a:ext cx="269875" cy="269875"/>
            </a:xfrm>
            <a:prstGeom prst="ellipse">
              <a:avLst/>
            </a:prstGeom>
            <a:solidFill>
              <a:srgbClr val="FFFFFF"/>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9" name="Freeform 55"/>
            <p:cNvSpPr>
              <a:spLocks/>
            </p:cNvSpPr>
            <p:nvPr/>
          </p:nvSpPr>
          <p:spPr bwMode="auto">
            <a:xfrm>
              <a:off x="11018198" y="2160588"/>
              <a:ext cx="174625" cy="96837"/>
            </a:xfrm>
            <a:custGeom>
              <a:avLst/>
              <a:gdLst>
                <a:gd name="T0" fmla="*/ 55 w 110"/>
                <a:gd name="T1" fmla="*/ 0 h 61"/>
                <a:gd name="T2" fmla="*/ 49 w 110"/>
                <a:gd name="T3" fmla="*/ 7 h 61"/>
                <a:gd name="T4" fmla="*/ 0 w 110"/>
                <a:gd name="T5" fmla="*/ 55 h 61"/>
                <a:gd name="T6" fmla="*/ 7 w 110"/>
                <a:gd name="T7" fmla="*/ 61 h 61"/>
                <a:gd name="T8" fmla="*/ 55 w 110"/>
                <a:gd name="T9" fmla="*/ 13 h 61"/>
                <a:gd name="T10" fmla="*/ 103 w 110"/>
                <a:gd name="T11" fmla="*/ 61 h 61"/>
                <a:gd name="T12" fmla="*/ 110 w 110"/>
                <a:gd name="T13" fmla="*/ 55 h 61"/>
                <a:gd name="T14" fmla="*/ 62 w 110"/>
                <a:gd name="T15" fmla="*/ 7 h 61"/>
                <a:gd name="T16" fmla="*/ 55 w 11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1">
                  <a:moveTo>
                    <a:pt x="55" y="0"/>
                  </a:moveTo>
                  <a:lnTo>
                    <a:pt x="49" y="7"/>
                  </a:lnTo>
                  <a:lnTo>
                    <a:pt x="0" y="55"/>
                  </a:lnTo>
                  <a:lnTo>
                    <a:pt x="7" y="61"/>
                  </a:lnTo>
                  <a:lnTo>
                    <a:pt x="55" y="13"/>
                  </a:lnTo>
                  <a:lnTo>
                    <a:pt x="103" y="61"/>
                  </a:lnTo>
                  <a:lnTo>
                    <a:pt x="110" y="55"/>
                  </a:lnTo>
                  <a:lnTo>
                    <a:pt x="62" y="7"/>
                  </a:lnTo>
                  <a:lnTo>
                    <a:pt x="55" y="0"/>
                  </a:lnTo>
                  <a:close/>
                </a:path>
              </a:pathLst>
            </a:custGeom>
            <a:solidFill>
              <a:srgbClr val="29BA74"/>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 19"/>
          <p:cNvGrpSpPr/>
          <p:nvPr/>
        </p:nvGrpSpPr>
        <p:grpSpPr>
          <a:xfrm rot="10800000">
            <a:off x="3184663" y="4274728"/>
            <a:ext cx="233326" cy="233326"/>
            <a:chOff x="10970573" y="2084388"/>
            <a:chExt cx="269875" cy="269875"/>
          </a:xfrm>
        </p:grpSpPr>
        <p:sp>
          <p:nvSpPr>
            <p:cNvPr id="21" name="Oval 54"/>
            <p:cNvSpPr>
              <a:spLocks noChangeArrowheads="1"/>
            </p:cNvSpPr>
            <p:nvPr/>
          </p:nvSpPr>
          <p:spPr bwMode="auto">
            <a:xfrm>
              <a:off x="10970573" y="2084388"/>
              <a:ext cx="269875" cy="269875"/>
            </a:xfrm>
            <a:prstGeom prst="ellipse">
              <a:avLst/>
            </a:prstGeom>
            <a:solidFill>
              <a:srgbClr val="FFFFFF"/>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22" name="Freeform 55"/>
            <p:cNvSpPr>
              <a:spLocks/>
            </p:cNvSpPr>
            <p:nvPr/>
          </p:nvSpPr>
          <p:spPr bwMode="auto">
            <a:xfrm>
              <a:off x="11018198" y="2160588"/>
              <a:ext cx="174625" cy="96837"/>
            </a:xfrm>
            <a:custGeom>
              <a:avLst/>
              <a:gdLst>
                <a:gd name="T0" fmla="*/ 55 w 110"/>
                <a:gd name="T1" fmla="*/ 0 h 61"/>
                <a:gd name="T2" fmla="*/ 49 w 110"/>
                <a:gd name="T3" fmla="*/ 7 h 61"/>
                <a:gd name="T4" fmla="*/ 0 w 110"/>
                <a:gd name="T5" fmla="*/ 55 h 61"/>
                <a:gd name="T6" fmla="*/ 7 w 110"/>
                <a:gd name="T7" fmla="*/ 61 h 61"/>
                <a:gd name="T8" fmla="*/ 55 w 110"/>
                <a:gd name="T9" fmla="*/ 13 h 61"/>
                <a:gd name="T10" fmla="*/ 103 w 110"/>
                <a:gd name="T11" fmla="*/ 61 h 61"/>
                <a:gd name="T12" fmla="*/ 110 w 110"/>
                <a:gd name="T13" fmla="*/ 55 h 61"/>
                <a:gd name="T14" fmla="*/ 62 w 110"/>
                <a:gd name="T15" fmla="*/ 7 h 61"/>
                <a:gd name="T16" fmla="*/ 55 w 11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1">
                  <a:moveTo>
                    <a:pt x="55" y="0"/>
                  </a:moveTo>
                  <a:lnTo>
                    <a:pt x="49" y="7"/>
                  </a:lnTo>
                  <a:lnTo>
                    <a:pt x="0" y="55"/>
                  </a:lnTo>
                  <a:lnTo>
                    <a:pt x="7" y="61"/>
                  </a:lnTo>
                  <a:lnTo>
                    <a:pt x="55" y="13"/>
                  </a:lnTo>
                  <a:lnTo>
                    <a:pt x="103" y="61"/>
                  </a:lnTo>
                  <a:lnTo>
                    <a:pt x="110" y="55"/>
                  </a:lnTo>
                  <a:lnTo>
                    <a:pt x="62" y="7"/>
                  </a:lnTo>
                  <a:lnTo>
                    <a:pt x="55" y="0"/>
                  </a:lnTo>
                  <a:close/>
                </a:path>
              </a:pathLst>
            </a:custGeom>
            <a:solidFill>
              <a:srgbClr val="29BA74"/>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2"/>
          <p:cNvGrpSpPr/>
          <p:nvPr/>
        </p:nvGrpSpPr>
        <p:grpSpPr>
          <a:xfrm rot="12794793">
            <a:off x="2438475" y="5676040"/>
            <a:ext cx="233326" cy="233326"/>
            <a:chOff x="10970573" y="2084388"/>
            <a:chExt cx="269875" cy="269875"/>
          </a:xfrm>
        </p:grpSpPr>
        <p:sp>
          <p:nvSpPr>
            <p:cNvPr id="24" name="Oval 54"/>
            <p:cNvSpPr>
              <a:spLocks noChangeArrowheads="1"/>
            </p:cNvSpPr>
            <p:nvPr/>
          </p:nvSpPr>
          <p:spPr bwMode="auto">
            <a:xfrm>
              <a:off x="10970573" y="2084388"/>
              <a:ext cx="269875" cy="269875"/>
            </a:xfrm>
            <a:prstGeom prst="ellipse">
              <a:avLst/>
            </a:prstGeom>
            <a:solidFill>
              <a:srgbClr val="FFFFFF"/>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25" name="Freeform 55"/>
            <p:cNvSpPr>
              <a:spLocks/>
            </p:cNvSpPr>
            <p:nvPr/>
          </p:nvSpPr>
          <p:spPr bwMode="auto">
            <a:xfrm>
              <a:off x="11018198" y="2160588"/>
              <a:ext cx="174625" cy="96837"/>
            </a:xfrm>
            <a:custGeom>
              <a:avLst/>
              <a:gdLst>
                <a:gd name="T0" fmla="*/ 55 w 110"/>
                <a:gd name="T1" fmla="*/ 0 h 61"/>
                <a:gd name="T2" fmla="*/ 49 w 110"/>
                <a:gd name="T3" fmla="*/ 7 h 61"/>
                <a:gd name="T4" fmla="*/ 0 w 110"/>
                <a:gd name="T5" fmla="*/ 55 h 61"/>
                <a:gd name="T6" fmla="*/ 7 w 110"/>
                <a:gd name="T7" fmla="*/ 61 h 61"/>
                <a:gd name="T8" fmla="*/ 55 w 110"/>
                <a:gd name="T9" fmla="*/ 13 h 61"/>
                <a:gd name="T10" fmla="*/ 103 w 110"/>
                <a:gd name="T11" fmla="*/ 61 h 61"/>
                <a:gd name="T12" fmla="*/ 110 w 110"/>
                <a:gd name="T13" fmla="*/ 55 h 61"/>
                <a:gd name="T14" fmla="*/ 62 w 110"/>
                <a:gd name="T15" fmla="*/ 7 h 61"/>
                <a:gd name="T16" fmla="*/ 55 w 11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1">
                  <a:moveTo>
                    <a:pt x="55" y="0"/>
                  </a:moveTo>
                  <a:lnTo>
                    <a:pt x="49" y="7"/>
                  </a:lnTo>
                  <a:lnTo>
                    <a:pt x="0" y="55"/>
                  </a:lnTo>
                  <a:lnTo>
                    <a:pt x="7" y="61"/>
                  </a:lnTo>
                  <a:lnTo>
                    <a:pt x="55" y="13"/>
                  </a:lnTo>
                  <a:lnTo>
                    <a:pt x="103" y="61"/>
                  </a:lnTo>
                  <a:lnTo>
                    <a:pt x="110" y="55"/>
                  </a:lnTo>
                  <a:lnTo>
                    <a:pt x="62" y="7"/>
                  </a:lnTo>
                  <a:lnTo>
                    <a:pt x="55" y="0"/>
                  </a:lnTo>
                  <a:close/>
                </a:path>
              </a:pathLst>
            </a:custGeom>
            <a:solidFill>
              <a:srgbClr val="29BA74"/>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sp>
        <p:nvSpPr>
          <p:cNvPr id="29" name="Rectangle 28"/>
          <p:cNvSpPr/>
          <p:nvPr/>
        </p:nvSpPr>
        <p:spPr>
          <a:xfrm>
            <a:off x="2973578" y="390136"/>
            <a:ext cx="9345167" cy="738664"/>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pPr>
            <a:r>
              <a:rPr lang="en-US" sz="2400" dirty="0">
                <a:solidFill>
                  <a:schemeClr val="bg1"/>
                </a:solidFill>
                <a:latin typeface="Arial" panose="020B0604020202020204" pitchFamily="34" charset="0"/>
                <a:cs typeface="Arial" panose="020B0604020202020204" pitchFamily="34" charset="0"/>
              </a:rPr>
              <a:t>Establish State Agency Council and Stakeholder Advisory Committee, Subcommittees</a:t>
            </a:r>
          </a:p>
        </p:txBody>
      </p:sp>
      <p:sp>
        <p:nvSpPr>
          <p:cNvPr id="30" name="Rectangle 29"/>
          <p:cNvSpPr/>
          <p:nvPr/>
        </p:nvSpPr>
        <p:spPr>
          <a:xfrm>
            <a:off x="4122751" y="3541682"/>
            <a:ext cx="7476234" cy="36933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sz="2400" dirty="0">
                <a:solidFill>
                  <a:schemeClr val="bg1"/>
                </a:solidFill>
                <a:latin typeface="Arial" panose="020B0604020202020204" pitchFamily="34" charset="0"/>
                <a:cs typeface="Arial" panose="020B0604020202020204" pitchFamily="34" charset="0"/>
              </a:rPr>
              <a:t>Continued Public Engagement</a:t>
            </a:r>
          </a:p>
        </p:txBody>
      </p:sp>
      <p:sp>
        <p:nvSpPr>
          <p:cNvPr id="31" name="Rectangle 30"/>
          <p:cNvSpPr/>
          <p:nvPr/>
        </p:nvSpPr>
        <p:spPr>
          <a:xfrm>
            <a:off x="3645994" y="5043102"/>
            <a:ext cx="7819151" cy="36933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sz="2400" dirty="0">
                <a:solidFill>
                  <a:schemeClr val="bg1"/>
                </a:solidFill>
                <a:latin typeface="Arial" panose="020B0604020202020204" pitchFamily="34" charset="0"/>
                <a:cs typeface="Arial" panose="020B0604020202020204" pitchFamily="34" charset="0"/>
              </a:rPr>
              <a:t>Draft Final Advisory Report</a:t>
            </a:r>
          </a:p>
        </p:txBody>
      </p:sp>
      <p:sp>
        <p:nvSpPr>
          <p:cNvPr id="32" name="Rectangle 31"/>
          <p:cNvSpPr/>
          <p:nvPr/>
        </p:nvSpPr>
        <p:spPr>
          <a:xfrm>
            <a:off x="2645718" y="6191767"/>
            <a:ext cx="8126152" cy="36933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sz="2400" dirty="0">
                <a:solidFill>
                  <a:schemeClr val="bg1"/>
                </a:solidFill>
                <a:latin typeface="Arial" panose="020B0604020202020204" pitchFamily="34" charset="0"/>
                <a:cs typeface="Arial" panose="020B0604020202020204" pitchFamily="34" charset="0"/>
              </a:rPr>
              <a:t>Adopt Final Master Plan</a:t>
            </a:r>
          </a:p>
        </p:txBody>
      </p:sp>
      <p:sp>
        <p:nvSpPr>
          <p:cNvPr id="43" name="Rectangle 42"/>
          <p:cNvSpPr/>
          <p:nvPr/>
        </p:nvSpPr>
        <p:spPr>
          <a:xfrm>
            <a:off x="297180" y="2148709"/>
            <a:ext cx="1887567" cy="2490680"/>
          </a:xfrm>
          <a:prstGeom prst="rect">
            <a:avLst/>
          </a:prstGeom>
        </p:spPr>
        <p:txBody>
          <a:bodyPr wrap="square" lIns="0" tIns="0" rIns="0" bIns="0" anchor="ctr" anchorCtr="0">
            <a:noAutofit/>
          </a:bodyPr>
          <a:lstStyle/>
          <a:p>
            <a:r>
              <a:rPr lang="en-US" sz="2200" dirty="0">
                <a:solidFill>
                  <a:srgbClr val="FFFFFF"/>
                </a:solidFill>
                <a:latin typeface="Arial" panose="020B0604020202020204" pitchFamily="34" charset="0"/>
                <a:cs typeface="Arial" panose="020B0604020202020204" pitchFamily="34" charset="0"/>
              </a:rPr>
              <a:t>Expected Timeline for Development of Master Plan for Aging</a:t>
            </a:r>
          </a:p>
        </p:txBody>
      </p:sp>
      <p:sp>
        <p:nvSpPr>
          <p:cNvPr id="27" name="Oval 26">
            <a:extLst>
              <a:ext uri="{FF2B5EF4-FFF2-40B4-BE49-F238E27FC236}">
                <a16:creationId xmlns:a16="http://schemas.microsoft.com/office/drawing/2014/main" id="{3E08A8AA-629D-43DD-9481-F68C3D86D62B}"/>
              </a:ext>
            </a:extLst>
          </p:cNvPr>
          <p:cNvSpPr/>
          <p:nvPr/>
        </p:nvSpPr>
        <p:spPr>
          <a:xfrm>
            <a:off x="2057400" y="1746394"/>
            <a:ext cx="2251710" cy="917569"/>
          </a:xfrm>
          <a:prstGeom prst="ellipse">
            <a:avLst/>
          </a:prstGeom>
          <a:solidFill>
            <a:srgbClr val="878CB4"/>
          </a:solidFill>
          <a:ln w="38100"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90000"/>
              </a:lnSpc>
              <a:spcAft>
                <a:spcPts val="1000"/>
              </a:spcAft>
            </a:pPr>
            <a:r>
              <a:rPr lang="en-US" dirty="0">
                <a:solidFill>
                  <a:schemeClr val="bg1"/>
                </a:solidFill>
                <a:latin typeface="Arial" panose="020B0604020202020204" pitchFamily="34" charset="0"/>
                <a:cs typeface="Arial" panose="020B0604020202020204" pitchFamily="34" charset="0"/>
              </a:rPr>
              <a:t>Spring/Summer 2023</a:t>
            </a:r>
          </a:p>
        </p:txBody>
      </p:sp>
      <p:grpSp>
        <p:nvGrpSpPr>
          <p:cNvPr id="28" name="Group 27">
            <a:extLst>
              <a:ext uri="{FF2B5EF4-FFF2-40B4-BE49-F238E27FC236}">
                <a16:creationId xmlns:a16="http://schemas.microsoft.com/office/drawing/2014/main" id="{0011CFF2-3B7D-422F-9436-A34E83BE52D4}"/>
              </a:ext>
            </a:extLst>
          </p:cNvPr>
          <p:cNvGrpSpPr/>
          <p:nvPr/>
        </p:nvGrpSpPr>
        <p:grpSpPr>
          <a:xfrm rot="10190383">
            <a:off x="3295924" y="2894758"/>
            <a:ext cx="233326" cy="233326"/>
            <a:chOff x="10970573" y="2084388"/>
            <a:chExt cx="269875" cy="269875"/>
          </a:xfrm>
        </p:grpSpPr>
        <p:sp>
          <p:nvSpPr>
            <p:cNvPr id="34" name="Oval 54">
              <a:extLst>
                <a:ext uri="{FF2B5EF4-FFF2-40B4-BE49-F238E27FC236}">
                  <a16:creationId xmlns:a16="http://schemas.microsoft.com/office/drawing/2014/main" id="{D0C53D5A-FE89-4A3B-A3B8-5A7BA4214A1A}"/>
                </a:ext>
              </a:extLst>
            </p:cNvPr>
            <p:cNvSpPr>
              <a:spLocks noChangeArrowheads="1"/>
            </p:cNvSpPr>
            <p:nvPr/>
          </p:nvSpPr>
          <p:spPr bwMode="auto">
            <a:xfrm>
              <a:off x="10970573" y="2084388"/>
              <a:ext cx="269875" cy="269875"/>
            </a:xfrm>
            <a:prstGeom prst="ellipse">
              <a:avLst/>
            </a:prstGeom>
            <a:solidFill>
              <a:srgbClr val="FFFFFF"/>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35" name="Freeform 55">
              <a:extLst>
                <a:ext uri="{FF2B5EF4-FFF2-40B4-BE49-F238E27FC236}">
                  <a16:creationId xmlns:a16="http://schemas.microsoft.com/office/drawing/2014/main" id="{6DFDD013-61B6-42E9-BC66-735619FC3770}"/>
                </a:ext>
              </a:extLst>
            </p:cNvPr>
            <p:cNvSpPr>
              <a:spLocks/>
            </p:cNvSpPr>
            <p:nvPr/>
          </p:nvSpPr>
          <p:spPr bwMode="auto">
            <a:xfrm>
              <a:off x="11018198" y="2160588"/>
              <a:ext cx="174625" cy="96837"/>
            </a:xfrm>
            <a:custGeom>
              <a:avLst/>
              <a:gdLst>
                <a:gd name="T0" fmla="*/ 55 w 110"/>
                <a:gd name="T1" fmla="*/ 0 h 61"/>
                <a:gd name="T2" fmla="*/ 49 w 110"/>
                <a:gd name="T3" fmla="*/ 7 h 61"/>
                <a:gd name="T4" fmla="*/ 0 w 110"/>
                <a:gd name="T5" fmla="*/ 55 h 61"/>
                <a:gd name="T6" fmla="*/ 7 w 110"/>
                <a:gd name="T7" fmla="*/ 61 h 61"/>
                <a:gd name="T8" fmla="*/ 55 w 110"/>
                <a:gd name="T9" fmla="*/ 13 h 61"/>
                <a:gd name="T10" fmla="*/ 103 w 110"/>
                <a:gd name="T11" fmla="*/ 61 h 61"/>
                <a:gd name="T12" fmla="*/ 110 w 110"/>
                <a:gd name="T13" fmla="*/ 55 h 61"/>
                <a:gd name="T14" fmla="*/ 62 w 110"/>
                <a:gd name="T15" fmla="*/ 7 h 61"/>
                <a:gd name="T16" fmla="*/ 55 w 11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1">
                  <a:moveTo>
                    <a:pt x="55" y="0"/>
                  </a:moveTo>
                  <a:lnTo>
                    <a:pt x="49" y="7"/>
                  </a:lnTo>
                  <a:lnTo>
                    <a:pt x="0" y="55"/>
                  </a:lnTo>
                  <a:lnTo>
                    <a:pt x="7" y="61"/>
                  </a:lnTo>
                  <a:lnTo>
                    <a:pt x="55" y="13"/>
                  </a:lnTo>
                  <a:lnTo>
                    <a:pt x="103" y="61"/>
                  </a:lnTo>
                  <a:lnTo>
                    <a:pt x="110" y="55"/>
                  </a:lnTo>
                  <a:lnTo>
                    <a:pt x="62" y="7"/>
                  </a:lnTo>
                  <a:lnTo>
                    <a:pt x="55" y="0"/>
                  </a:lnTo>
                  <a:close/>
                </a:path>
              </a:pathLst>
            </a:custGeom>
            <a:solidFill>
              <a:srgbClr val="29BA74"/>
            </a:solidFill>
            <a:ln w="9525" cap="flat" cmpd="sng" algn="ctr">
              <a:solidFill>
                <a:srgbClr val="523178"/>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sp>
        <p:nvSpPr>
          <p:cNvPr id="36" name="Rectangle 35">
            <a:extLst>
              <a:ext uri="{FF2B5EF4-FFF2-40B4-BE49-F238E27FC236}">
                <a16:creationId xmlns:a16="http://schemas.microsoft.com/office/drawing/2014/main" id="{876B54E2-6C4B-4621-B24E-27594BCB8332}"/>
              </a:ext>
            </a:extLst>
          </p:cNvPr>
          <p:cNvSpPr/>
          <p:nvPr/>
        </p:nvSpPr>
        <p:spPr>
          <a:xfrm>
            <a:off x="3998637" y="2048500"/>
            <a:ext cx="7295050" cy="36933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sz="2400" dirty="0">
                <a:solidFill>
                  <a:schemeClr val="accent3"/>
                </a:solidFill>
                <a:latin typeface="Trebuchet MS" panose="020B0603020202020204" pitchFamily="34" charset="0"/>
              </a:rPr>
              <a:t>     </a:t>
            </a:r>
            <a:r>
              <a:rPr lang="en-US" sz="2400" dirty="0">
                <a:solidFill>
                  <a:schemeClr val="bg1"/>
                </a:solidFill>
                <a:latin typeface="Arial" panose="020B0604020202020204" pitchFamily="34" charset="0"/>
                <a:cs typeface="Arial" panose="020B0604020202020204" pitchFamily="34" charset="0"/>
              </a:rPr>
              <a:t>Preliminary Advisory Report</a:t>
            </a:r>
          </a:p>
        </p:txBody>
      </p:sp>
      <p:pic>
        <p:nvPicPr>
          <p:cNvPr id="10" name="Graphic 9" descr="Checkmark with solid fill">
            <a:extLst>
              <a:ext uri="{FF2B5EF4-FFF2-40B4-BE49-F238E27FC236}">
                <a16:creationId xmlns:a16="http://schemas.microsoft.com/office/drawing/2014/main" id="{E22C80CE-C05B-4DD6-966A-01BD134F95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54096" y="496419"/>
            <a:ext cx="689035" cy="689035"/>
          </a:xfrm>
          <a:prstGeom prst="rect">
            <a:avLst/>
          </a:prstGeom>
        </p:spPr>
      </p:pic>
      <p:pic>
        <p:nvPicPr>
          <p:cNvPr id="33" name="Graphic 32" descr="Checkmark with solid fill">
            <a:extLst>
              <a:ext uri="{FF2B5EF4-FFF2-40B4-BE49-F238E27FC236}">
                <a16:creationId xmlns:a16="http://schemas.microsoft.com/office/drawing/2014/main" id="{5CBEEFE6-C440-467B-B74C-5AD916DD22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6609" y="1888648"/>
            <a:ext cx="689035" cy="689035"/>
          </a:xfrm>
          <a:prstGeom prst="rect">
            <a:avLst/>
          </a:prstGeom>
        </p:spPr>
      </p:pic>
    </p:spTree>
    <p:extLst>
      <p:ext uri="{BB962C8B-B14F-4D97-AF65-F5344CB8AC3E}">
        <p14:creationId xmlns:p14="http://schemas.microsoft.com/office/powerpoint/2010/main" val="366488902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915C3C-6A90-469B-A713-AA272162E6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87915C3C-6A90-469B-A713-AA272162E6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13222" y="1921079"/>
            <a:ext cx="2478638" cy="2853721"/>
          </a:xfrm>
        </p:spPr>
        <p:txBody>
          <a:bodyPr vert="horz"/>
          <a:lstStyle/>
          <a:p>
            <a:r>
              <a:rPr lang="en-US" dirty="0">
                <a:solidFill>
                  <a:schemeClr val="bg1"/>
                </a:solidFill>
              </a:rPr>
              <a:t>How can you help to develop the Master Plan?</a:t>
            </a:r>
          </a:p>
        </p:txBody>
      </p:sp>
      <p:sp>
        <p:nvSpPr>
          <p:cNvPr id="10" name="TextBox 9">
            <a:extLst>
              <a:ext uri="{FF2B5EF4-FFF2-40B4-BE49-F238E27FC236}">
                <a16:creationId xmlns:a16="http://schemas.microsoft.com/office/drawing/2014/main" id="{5BED438F-D1DB-436B-B4E9-D9AD851E9466}"/>
              </a:ext>
            </a:extLst>
          </p:cNvPr>
          <p:cNvSpPr txBox="1"/>
          <p:nvPr/>
        </p:nvSpPr>
        <p:spPr>
          <a:xfrm>
            <a:off x="4408638" y="338937"/>
            <a:ext cx="7297597" cy="64114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spcAft>
                <a:spcPts val="600"/>
              </a:spcAft>
            </a:pPr>
            <a:endParaRPr lang="en-US" sz="2400" dirty="0">
              <a:solidFill>
                <a:srgbClr val="101820"/>
              </a:solidFill>
            </a:endParaRPr>
          </a:p>
          <a:p>
            <a:pPr>
              <a:spcBef>
                <a:spcPts val="1200"/>
              </a:spcBef>
              <a:spcAft>
                <a:spcPts val="600"/>
              </a:spcAft>
            </a:pPr>
            <a:endParaRPr lang="en-US" sz="2400" dirty="0">
              <a:solidFill>
                <a:srgbClr val="101820"/>
              </a:solidFill>
            </a:endParaRPr>
          </a:p>
          <a:p>
            <a:pPr marL="342900" indent="-342900">
              <a:spcBef>
                <a:spcPts val="1200"/>
              </a:spcBef>
              <a:spcAft>
                <a:spcPts val="600"/>
              </a:spcAft>
              <a:buFont typeface="Arial" panose="020B0604020202020204" pitchFamily="34" charset="0"/>
              <a:buChar char="•"/>
            </a:pPr>
            <a:r>
              <a:rPr lang="en-US" sz="2200" dirty="0">
                <a:solidFill>
                  <a:schemeClr val="tx1"/>
                </a:solidFill>
                <a:latin typeface="+mj-lt"/>
              </a:rPr>
              <a:t>Communities will have an opportunity to share input through: </a:t>
            </a:r>
          </a:p>
          <a:p>
            <a:pPr marL="800100" lvl="1" indent="-342900">
              <a:spcBef>
                <a:spcPts val="1200"/>
              </a:spcBef>
              <a:spcAft>
                <a:spcPts val="600"/>
              </a:spcAft>
              <a:buFont typeface="Arial" panose="020B0604020202020204" pitchFamily="34" charset="0"/>
              <a:buChar char="•"/>
            </a:pPr>
            <a:r>
              <a:rPr lang="en-US" sz="2200" dirty="0">
                <a:solidFill>
                  <a:schemeClr val="tx1"/>
                </a:solidFill>
                <a:latin typeface="+mj-lt"/>
              </a:rPr>
              <a:t>A Public Survey</a:t>
            </a:r>
          </a:p>
          <a:p>
            <a:pPr marL="1257300" lvl="2" indent="-342900">
              <a:spcBef>
                <a:spcPts val="1200"/>
              </a:spcBef>
              <a:spcAft>
                <a:spcPts val="600"/>
              </a:spcAft>
              <a:buFont typeface="Arial" panose="020B0604020202020204" pitchFamily="34" charset="0"/>
              <a:buChar char="•"/>
            </a:pPr>
            <a:r>
              <a:rPr lang="en-US" sz="2200">
                <a:solidFill>
                  <a:schemeClr val="tx1"/>
                </a:solidFill>
                <a:latin typeface="+mj-lt"/>
              </a:rPr>
              <a:t>Go to: </a:t>
            </a:r>
            <a:r>
              <a:rPr lang="en-US" sz="2200">
                <a:solidFill>
                  <a:schemeClr val="tx1"/>
                </a:solidFill>
                <a:latin typeface="+mj-lt"/>
                <a:hlinkClick r:id="rId6"/>
              </a:rPr>
              <a:t>https</a:t>
            </a:r>
            <a:r>
              <a:rPr lang="en-US" sz="2200" dirty="0">
                <a:solidFill>
                  <a:schemeClr val="tx1"/>
                </a:solidFill>
                <a:latin typeface="+mj-lt"/>
                <a:hlinkClick r:id="rId6"/>
              </a:rPr>
              <a:t>://forms.ny.gov/s3</a:t>
            </a:r>
            <a:r>
              <a:rPr lang="en-US" sz="2200">
                <a:solidFill>
                  <a:schemeClr val="tx1"/>
                </a:solidFill>
                <a:latin typeface="+mj-lt"/>
                <a:hlinkClick r:id="rId6"/>
              </a:rPr>
              <a:t>/mpasurvey</a:t>
            </a:r>
            <a:r>
              <a:rPr lang="en-US" sz="2200">
                <a:solidFill>
                  <a:schemeClr val="tx1"/>
                </a:solidFill>
                <a:latin typeface="+mj-lt"/>
              </a:rPr>
              <a:t> </a:t>
            </a:r>
            <a:endParaRPr lang="en-US" sz="2200" dirty="0">
              <a:solidFill>
                <a:schemeClr val="tx1"/>
              </a:solidFill>
              <a:latin typeface="+mj-lt"/>
            </a:endParaRPr>
          </a:p>
          <a:p>
            <a:pPr marL="800100" lvl="1" indent="-342900">
              <a:spcBef>
                <a:spcPts val="1200"/>
              </a:spcBef>
              <a:spcAft>
                <a:spcPts val="600"/>
              </a:spcAft>
              <a:buFont typeface="Arial" panose="020B0604020202020204" pitchFamily="34" charset="0"/>
              <a:buChar char="•"/>
            </a:pPr>
            <a:r>
              <a:rPr lang="en-US" sz="2200" dirty="0">
                <a:solidFill>
                  <a:schemeClr val="tx1"/>
                </a:solidFill>
                <a:latin typeface="+mj-lt"/>
              </a:rPr>
              <a:t>Town Hall Meetings and Listening Sessions</a:t>
            </a:r>
          </a:p>
          <a:p>
            <a:pPr marL="800100" lvl="1" indent="-342900">
              <a:spcBef>
                <a:spcPts val="1200"/>
              </a:spcBef>
              <a:spcAft>
                <a:spcPts val="600"/>
              </a:spcAft>
              <a:buFont typeface="Arial" panose="020B0604020202020204" pitchFamily="34" charset="0"/>
              <a:buChar char="•"/>
            </a:pPr>
            <a:r>
              <a:rPr lang="en-US" sz="2200" dirty="0">
                <a:solidFill>
                  <a:schemeClr val="tx1"/>
                </a:solidFill>
                <a:latin typeface="+mj-lt"/>
              </a:rPr>
              <a:t>Emails to MPA@health.ny.gov</a:t>
            </a:r>
          </a:p>
          <a:p>
            <a:pPr marL="342900" indent="-342900">
              <a:spcBef>
                <a:spcPts val="1200"/>
              </a:spcBef>
              <a:spcAft>
                <a:spcPts val="600"/>
              </a:spcAft>
              <a:buFont typeface="Arial" panose="020B0604020202020204" pitchFamily="34" charset="0"/>
              <a:buChar char="•"/>
            </a:pPr>
            <a:endParaRPr lang="en-US" sz="2400" dirty="0">
              <a:solidFill>
                <a:schemeClr val="tx1"/>
              </a:solidFill>
            </a:endParaRPr>
          </a:p>
          <a:p>
            <a:pPr>
              <a:spcBef>
                <a:spcPts val="1200"/>
              </a:spcBef>
              <a:spcAft>
                <a:spcPts val="600"/>
              </a:spcAft>
            </a:pPr>
            <a:endParaRPr lang="en-US" sz="2400" dirty="0">
              <a:solidFill>
                <a:srgbClr val="101820"/>
              </a:solidFill>
            </a:endParaRPr>
          </a:p>
          <a:p>
            <a:pPr>
              <a:spcBef>
                <a:spcPts val="1200"/>
              </a:spcBef>
              <a:spcAft>
                <a:spcPts val="600"/>
              </a:spcAft>
            </a:pPr>
            <a:endParaRPr lang="en-US" sz="2400" dirty="0">
              <a:solidFill>
                <a:srgbClr val="101820"/>
              </a:solidFill>
            </a:endParaRPr>
          </a:p>
          <a:p>
            <a:pPr>
              <a:spcBef>
                <a:spcPts val="1200"/>
              </a:spcBef>
              <a:spcAft>
                <a:spcPts val="600"/>
              </a:spcAft>
            </a:pPr>
            <a:r>
              <a:rPr lang="en-US" sz="2400" dirty="0">
                <a:solidFill>
                  <a:srgbClr val="101820"/>
                </a:solidFill>
              </a:rPr>
              <a:t> </a:t>
            </a:r>
          </a:p>
        </p:txBody>
      </p:sp>
    </p:spTree>
    <p:extLst>
      <p:ext uri="{BB962C8B-B14F-4D97-AF65-F5344CB8AC3E}">
        <p14:creationId xmlns:p14="http://schemas.microsoft.com/office/powerpoint/2010/main" val="3405606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B18310-0D20-4789-B4B5-F8A5EB6C4D1B}"/>
              </a:ext>
            </a:extLst>
          </p:cNvPr>
          <p:cNvGraphicFramePr>
            <a:graphicFrameLocks noChangeAspect="1"/>
          </p:cNvGraphicFramePr>
          <p:nvPr>
            <p:custDataLst>
              <p:tags r:id="rId2"/>
            </p:custDataLst>
            <p:extLst>
              <p:ext uri="{D42A27DB-BD31-4B8C-83A1-F6EECF244321}">
                <p14:modId xmlns:p14="http://schemas.microsoft.com/office/powerpoint/2010/main" val="3726372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2CB18310-0D20-4789-B4B5-F8A5EB6C4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6468324" y="-713064"/>
            <a:ext cx="4388400" cy="3286800"/>
          </a:xfrm>
        </p:spPr>
        <p:txBody>
          <a:bodyPr vert="horz"/>
          <a:lstStyle/>
          <a:p>
            <a:r>
              <a:rPr lang="en-US" sz="3200" dirty="0">
                <a:solidFill>
                  <a:schemeClr val="tx1"/>
                </a:solidFill>
              </a:rPr>
              <a:t>Questions? </a:t>
            </a:r>
          </a:p>
        </p:txBody>
      </p:sp>
      <p:sp>
        <p:nvSpPr>
          <p:cNvPr id="7" name="ee4pContent2">
            <a:extLst>
              <a:ext uri="{FF2B5EF4-FFF2-40B4-BE49-F238E27FC236}">
                <a16:creationId xmlns:a16="http://schemas.microsoft.com/office/drawing/2014/main" id="{8E7A1F62-77EB-4C34-A86A-100468FEF6B7}"/>
              </a:ext>
            </a:extLst>
          </p:cNvPr>
          <p:cNvSpPr txBox="1"/>
          <p:nvPr/>
        </p:nvSpPr>
        <p:spPr>
          <a:xfrm>
            <a:off x="6468324" y="1205770"/>
            <a:ext cx="5297558" cy="444645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F1C44"/>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523178"/>
              </a:buClr>
              <a:buSzPct val="100000"/>
              <a:buFont typeface="Trebuchet MS" panose="020B0603020202020204" pitchFamily="34" charset="0"/>
              <a:buChar char="​"/>
              <a:defRPr sz="2000">
                <a:solidFill>
                  <a:srgbClr val="101820"/>
                </a:solidFill>
              </a:defRPr>
            </a:lvl1pPr>
            <a:lvl2pPr marL="324000" lvl="1" indent="-216000">
              <a:buClr>
                <a:srgbClr val="523178"/>
              </a:buClr>
              <a:buSzPct val="100000"/>
              <a:buFont typeface="Trebuchet MS" panose="020B0603020202020204" pitchFamily="34" charset="0"/>
              <a:buChar char="•"/>
              <a:defRPr sz="2000">
                <a:solidFill>
                  <a:srgbClr val="101820"/>
                </a:solidFill>
              </a:defRPr>
            </a:lvl2pPr>
            <a:lvl3pPr marL="648000" lvl="2" indent="-216000">
              <a:buClr>
                <a:srgbClr val="523178"/>
              </a:buClr>
              <a:buSzPct val="100000"/>
              <a:buFont typeface="Trebuchet MS" panose="020B0603020202020204" pitchFamily="34" charset="0"/>
              <a:buChar char="–"/>
              <a:defRPr sz="2000">
                <a:solidFill>
                  <a:srgbClr val="101820"/>
                </a:solidFill>
              </a:defRPr>
            </a:lvl3pPr>
            <a:lvl4pPr marL="0" lvl="3">
              <a:buClr>
                <a:srgbClr val="523178"/>
              </a:buClr>
              <a:buSzPct val="100000"/>
              <a:buFont typeface="Trebuchet MS" panose="020B0603020202020204" pitchFamily="34" charset="0"/>
              <a:buChar char="​"/>
              <a:defRPr sz="2400">
                <a:solidFill>
                  <a:srgbClr val="523178"/>
                </a:solidFill>
              </a:defRPr>
            </a:lvl4pPr>
            <a:lvl5pPr marL="0" lvl="4">
              <a:buClr>
                <a:srgbClr val="523178"/>
              </a:buClr>
              <a:buSzPct val="100000"/>
              <a:buFont typeface="Trebuchet MS" panose="020B0603020202020204" pitchFamily="34" charset="0"/>
              <a:buChar char="​"/>
              <a:defRPr sz="2400" b="1">
                <a:solidFill>
                  <a:srgbClr val="101820"/>
                </a:solidFill>
              </a:defRPr>
            </a:lvl5pPr>
            <a:lvl6pPr marL="324000" lvl="5" indent="-216000">
              <a:buClr>
                <a:srgbClr val="523178"/>
              </a:buClr>
              <a:buSzPct val="100000"/>
              <a:buFont typeface="Trebuchet MS" panose="020B0603020202020204" pitchFamily="34" charset="0"/>
              <a:buChar char="•"/>
              <a:defRPr sz="2400">
                <a:solidFill>
                  <a:srgbClr val="101820"/>
                </a:solidFill>
              </a:defRPr>
            </a:lvl6pPr>
            <a:lvl7pPr marL="0" lvl="6">
              <a:buClr>
                <a:srgbClr val="523178"/>
              </a:buClr>
              <a:buSzPct val="100000"/>
              <a:buFont typeface="Trebuchet MS" panose="020B0603020202020204" pitchFamily="34" charset="0"/>
              <a:buChar char="​"/>
              <a:defRPr sz="5400">
                <a:solidFill>
                  <a:srgbClr val="101820"/>
                </a:solidFill>
              </a:defRPr>
            </a:lvl7pPr>
            <a:lvl8pPr marL="0" lvl="7">
              <a:buClr>
                <a:srgbClr val="523178"/>
              </a:buClr>
              <a:buSzPct val="100000"/>
              <a:buFont typeface="Trebuchet MS" panose="020B0603020202020204" pitchFamily="34" charset="0"/>
              <a:buChar char="​"/>
              <a:defRPr sz="6600">
                <a:solidFill>
                  <a:srgbClr val="523178"/>
                </a:solidFill>
              </a:defRPr>
            </a:lvl8pPr>
            <a:lvl9pPr marL="0" lvl="8">
              <a:buClr>
                <a:srgbClr val="523178"/>
              </a:buClr>
              <a:buSzPct val="100000"/>
              <a:buFont typeface="Trebuchet MS" panose="020B0603020202020204" pitchFamily="34" charset="0"/>
              <a:buChar char="​"/>
              <a:defRPr sz="4400">
                <a:solidFill>
                  <a:srgbClr val="523178"/>
                </a:solidFill>
              </a:defRPr>
            </a:lvl9pPr>
          </a:lstStyle>
          <a:p>
            <a:pPr marL="781200" lvl="1" indent="-457200">
              <a:buFont typeface="Arial" panose="020B0604020202020204" pitchFamily="34" charset="0"/>
              <a:buChar char="•"/>
            </a:pPr>
            <a:endParaRPr lang="en-US" sz="3200" dirty="0"/>
          </a:p>
          <a:p>
            <a:pPr>
              <a:buNone/>
            </a:pPr>
            <a:endParaRPr lang="en-US" sz="3000" dirty="0">
              <a:solidFill>
                <a:schemeClr val="tx1"/>
              </a:solidFill>
            </a:endParaRPr>
          </a:p>
          <a:p>
            <a:pPr marL="457200" indent="-457200">
              <a:buFont typeface="Arial" panose="020B0604020202020204" pitchFamily="34" charset="0"/>
              <a:buChar char="•"/>
            </a:pPr>
            <a:r>
              <a:rPr lang="en-US" sz="2200" dirty="0">
                <a:solidFill>
                  <a:schemeClr val="tx1"/>
                </a:solidFill>
              </a:rPr>
              <a:t>Additional questions, ideas and feedback can be sent to </a:t>
            </a:r>
            <a:r>
              <a:rPr lang="en-US" sz="2200" b="1" dirty="0">
                <a:solidFill>
                  <a:schemeClr val="tx1"/>
                </a:solidFill>
                <a:hlinkClick r:id="rId7">
                  <a:extLst>
                    <a:ext uri="{A12FA001-AC4F-418D-AE19-62706E023703}">
                      <ahyp:hlinkClr xmlns:ahyp="http://schemas.microsoft.com/office/drawing/2018/hyperlinkcolor" val="tx"/>
                    </a:ext>
                  </a:extLst>
                </a:hlinkClick>
              </a:rPr>
              <a:t>MPA@health.ny.gov</a:t>
            </a:r>
            <a:r>
              <a:rPr lang="en-US" sz="2200" b="1" dirty="0">
                <a:solidFill>
                  <a:schemeClr val="tx1"/>
                </a:solidFill>
              </a:rPr>
              <a:t> </a:t>
            </a:r>
          </a:p>
          <a:p>
            <a:pPr marL="457200" indent="-457200">
              <a:buFont typeface="Arial" panose="020B0604020202020204" pitchFamily="34" charset="0"/>
              <a:buChar char="•"/>
            </a:pPr>
            <a:endParaRPr lang="en-US" sz="2200" b="1" dirty="0">
              <a:solidFill>
                <a:schemeClr val="tx1"/>
              </a:solidFill>
            </a:endParaRPr>
          </a:p>
          <a:p>
            <a:pPr>
              <a:buNone/>
            </a:pPr>
            <a:endParaRPr lang="en-US" sz="2200" b="1" dirty="0">
              <a:solidFill>
                <a:schemeClr val="tx1"/>
              </a:solidFill>
            </a:endParaRPr>
          </a:p>
          <a:p>
            <a:pPr marL="457200" indent="-457200">
              <a:buFont typeface="Arial" panose="020B0604020202020204" pitchFamily="34" charset="0"/>
              <a:buChar char="•"/>
            </a:pPr>
            <a:r>
              <a:rPr lang="en-US" sz="2200" dirty="0">
                <a:solidFill>
                  <a:schemeClr val="tx1"/>
                </a:solidFill>
              </a:rPr>
              <a:t>Please be sure to visit the Master Plan for Aging website at </a:t>
            </a:r>
            <a:r>
              <a:rPr lang="en-US" sz="2200" b="1" dirty="0">
                <a:solidFill>
                  <a:schemeClr val="tx1"/>
                </a:solidFill>
                <a:hlinkClick r:id="rId8">
                  <a:extLst>
                    <a:ext uri="{A12FA001-AC4F-418D-AE19-62706E023703}">
                      <ahyp:hlinkClr xmlns:ahyp="http://schemas.microsoft.com/office/drawing/2018/hyperlinkcolor" val="tx"/>
                    </a:ext>
                  </a:extLst>
                </a:hlinkClick>
              </a:rPr>
              <a:t>www.ny.gov/mpa</a:t>
            </a:r>
            <a:r>
              <a:rPr lang="en-US" sz="2200" b="1" dirty="0">
                <a:solidFill>
                  <a:schemeClr val="tx1"/>
                </a:solidFill>
              </a:rPr>
              <a:t> </a:t>
            </a:r>
          </a:p>
        </p:txBody>
      </p:sp>
      <p:pic>
        <p:nvPicPr>
          <p:cNvPr id="5" name="Picture 4">
            <a:extLst>
              <a:ext uri="{FF2B5EF4-FFF2-40B4-BE49-F238E27FC236}">
                <a16:creationId xmlns:a16="http://schemas.microsoft.com/office/drawing/2014/main" id="{E3471784-7BE1-48A8-B134-71295A7C05E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8291" y="1485514"/>
            <a:ext cx="4153111" cy="4153111"/>
          </a:xfrm>
          <a:prstGeom prst="rect">
            <a:avLst/>
          </a:prstGeom>
        </p:spPr>
      </p:pic>
      <p:pic>
        <p:nvPicPr>
          <p:cNvPr id="6" name="Picture 5" descr="Graphical user interface, text&#10;&#10;Description automatically generated">
            <a:extLst>
              <a:ext uri="{FF2B5EF4-FFF2-40B4-BE49-F238E27FC236}">
                <a16:creationId xmlns:a16="http://schemas.microsoft.com/office/drawing/2014/main" id="{13021A0B-60A4-4FB1-89FC-15267CCE42DF}"/>
              </a:ext>
            </a:extLst>
          </p:cNvPr>
          <p:cNvPicPr>
            <a:picLocks noChangeAspect="1"/>
          </p:cNvPicPr>
          <p:nvPr/>
        </p:nvPicPr>
        <p:blipFill>
          <a:blip r:embed="rId10"/>
          <a:stretch>
            <a:fillRect/>
          </a:stretch>
        </p:blipFill>
        <p:spPr>
          <a:xfrm>
            <a:off x="998291" y="1485514"/>
            <a:ext cx="4153110" cy="4153111"/>
          </a:xfrm>
          <a:prstGeom prst="rect">
            <a:avLst/>
          </a:prstGeom>
        </p:spPr>
      </p:pic>
    </p:spTree>
    <p:custDataLst>
      <p:tags r:id="rId1"/>
    </p:custDataLst>
    <p:extLst>
      <p:ext uri="{BB962C8B-B14F-4D97-AF65-F5344CB8AC3E}">
        <p14:creationId xmlns:p14="http://schemas.microsoft.com/office/powerpoint/2010/main" val="1499095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2E27E-2C8F-467D-8FC0-3C0C02B8B5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0E2E27E-2C8F-467D-8FC0-3C0C02B8B5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CBF924E3-C6E6-4A34-A754-92A38FCBC1CD}"/>
              </a:ext>
            </a:extLst>
          </p:cNvPr>
          <p:cNvSpPr txBox="1"/>
          <p:nvPr/>
        </p:nvSpPr>
        <p:spPr>
          <a:xfrm>
            <a:off x="529811" y="1566644"/>
            <a:ext cx="3210821" cy="372471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600" dirty="0">
                <a:solidFill>
                  <a:srgbClr val="FFFFFF"/>
                </a:solidFill>
                <a:latin typeface="Arial"/>
                <a:cs typeface="Arial"/>
              </a:rPr>
              <a:t>Welcome</a:t>
            </a:r>
          </a:p>
        </p:txBody>
      </p:sp>
      <p:sp>
        <p:nvSpPr>
          <p:cNvPr id="5" name="TextBox 4">
            <a:extLst>
              <a:ext uri="{FF2B5EF4-FFF2-40B4-BE49-F238E27FC236}">
                <a16:creationId xmlns:a16="http://schemas.microsoft.com/office/drawing/2014/main" id="{34E10425-9826-4C76-A763-90CB52E205F7}"/>
              </a:ext>
            </a:extLst>
          </p:cNvPr>
          <p:cNvSpPr txBox="1"/>
          <p:nvPr/>
        </p:nvSpPr>
        <p:spPr>
          <a:xfrm>
            <a:off x="4367781" y="419245"/>
            <a:ext cx="7445847" cy="60316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1">
              <a:spcAft>
                <a:spcPts val="1200"/>
              </a:spcAft>
            </a:pPr>
            <a:endParaRPr lang="en-US" sz="2400" dirty="0">
              <a:solidFill>
                <a:schemeClr val="tx1"/>
              </a:solidFill>
              <a:cs typeface="Arial"/>
            </a:endParaRPr>
          </a:p>
          <a:p>
            <a:pPr lvl="1">
              <a:spcAft>
                <a:spcPts val="1200"/>
              </a:spcAft>
            </a:pPr>
            <a:endParaRPr lang="en-US" sz="2400" dirty="0">
              <a:solidFill>
                <a:schemeClr val="tx1"/>
              </a:solidFill>
              <a:cs typeface="Arial"/>
            </a:endParaRPr>
          </a:p>
          <a:p>
            <a:pPr lvl="1">
              <a:spcAft>
                <a:spcPts val="1200"/>
              </a:spcAft>
            </a:pPr>
            <a:endParaRPr lang="en-US" sz="2400" dirty="0">
              <a:solidFill>
                <a:schemeClr val="tx1"/>
              </a:solidFill>
              <a:cs typeface="Arial"/>
            </a:endParaRPr>
          </a:p>
          <a:p>
            <a:pPr marL="800100" lvl="1" indent="-342900">
              <a:spcAft>
                <a:spcPts val="1200"/>
              </a:spcAft>
              <a:buFont typeface="Arial" panose="020B0604020202020204" pitchFamily="34" charset="0"/>
              <a:buChar char="•"/>
            </a:pPr>
            <a:r>
              <a:rPr lang="en-US" sz="2400" dirty="0">
                <a:solidFill>
                  <a:schemeClr val="tx1"/>
                </a:solidFill>
                <a:cs typeface="Arial"/>
              </a:rPr>
              <a:t>Opening remarks</a:t>
            </a:r>
          </a:p>
          <a:p>
            <a:pPr marL="800100" lvl="1" indent="-342900">
              <a:spcAft>
                <a:spcPts val="1200"/>
              </a:spcAft>
              <a:buFont typeface="Arial" panose="020B0604020202020204" pitchFamily="34" charset="0"/>
              <a:buChar char="•"/>
            </a:pPr>
            <a:r>
              <a:rPr lang="en-US" sz="2400" dirty="0">
                <a:solidFill>
                  <a:schemeClr val="tx1"/>
                </a:solidFill>
                <a:cs typeface="Arial"/>
              </a:rPr>
              <a:t>What is the Master Plan for Aging</a:t>
            </a:r>
          </a:p>
          <a:p>
            <a:pPr marL="800100" lvl="1" indent="-342900">
              <a:spcAft>
                <a:spcPts val="1200"/>
              </a:spcAft>
              <a:buFont typeface="Arial" panose="020B0604020202020204" pitchFamily="34" charset="0"/>
              <a:buChar char="•"/>
            </a:pPr>
            <a:r>
              <a:rPr lang="en-US" sz="2400" dirty="0">
                <a:solidFill>
                  <a:schemeClr val="tx1"/>
                </a:solidFill>
                <a:cs typeface="Arial"/>
              </a:rPr>
              <a:t>Why Does New York Need a Master Plan for Aging</a:t>
            </a:r>
          </a:p>
          <a:p>
            <a:pPr marL="800100" lvl="1" indent="-342900">
              <a:spcAft>
                <a:spcPts val="1200"/>
              </a:spcAft>
              <a:buFont typeface="Arial" panose="020B0604020202020204" pitchFamily="34" charset="0"/>
              <a:buChar char="•"/>
            </a:pPr>
            <a:r>
              <a:rPr lang="en-US" sz="2400" dirty="0">
                <a:solidFill>
                  <a:schemeClr val="tx1"/>
                </a:solidFill>
                <a:cs typeface="Arial"/>
              </a:rPr>
              <a:t>Master Plan for Aging Organizational Structure</a:t>
            </a:r>
          </a:p>
          <a:p>
            <a:pPr marL="800100" lvl="1" indent="-342900">
              <a:spcAft>
                <a:spcPts val="1200"/>
              </a:spcAft>
              <a:buFont typeface="Arial" panose="020B0604020202020204" pitchFamily="34" charset="0"/>
              <a:buChar char="•"/>
            </a:pPr>
            <a:r>
              <a:rPr lang="en-US" sz="2400" dirty="0">
                <a:solidFill>
                  <a:schemeClr val="tx1"/>
                </a:solidFill>
                <a:cs typeface="Arial"/>
              </a:rPr>
              <a:t>List of Subcommittees</a:t>
            </a:r>
          </a:p>
          <a:p>
            <a:pPr marL="800100" lvl="1" indent="-342900">
              <a:spcAft>
                <a:spcPts val="1200"/>
              </a:spcAft>
              <a:buFont typeface="Arial" panose="020B0604020202020204" pitchFamily="34" charset="0"/>
              <a:buChar char="•"/>
            </a:pPr>
            <a:r>
              <a:rPr lang="en-US" sz="2400" dirty="0">
                <a:solidFill>
                  <a:schemeClr val="tx1"/>
                </a:solidFill>
                <a:cs typeface="Arial"/>
              </a:rPr>
              <a:t>Cross-cutting Themes</a:t>
            </a:r>
          </a:p>
          <a:p>
            <a:pPr marL="800100" lvl="1" indent="-342900">
              <a:spcAft>
                <a:spcPts val="1200"/>
              </a:spcAft>
              <a:buFont typeface="Arial" panose="020B0604020202020204" pitchFamily="34" charset="0"/>
              <a:buChar char="•"/>
            </a:pPr>
            <a:r>
              <a:rPr lang="en-US" sz="2400" dirty="0">
                <a:solidFill>
                  <a:schemeClr val="tx1"/>
                </a:solidFill>
                <a:cs typeface="Arial"/>
              </a:rPr>
              <a:t>Ongoing Engagement</a:t>
            </a:r>
          </a:p>
          <a:p>
            <a:pPr marL="800100" lvl="1" indent="-342900">
              <a:buFont typeface="Arial" panose="020B0604020202020204" pitchFamily="34" charset="0"/>
              <a:buChar char="•"/>
            </a:pPr>
            <a:endParaRPr lang="en-US" sz="2400" dirty="0">
              <a:solidFill>
                <a:schemeClr val="tx1"/>
              </a:solidFill>
              <a:cs typeface="Arial"/>
            </a:endParaRPr>
          </a:p>
          <a:p>
            <a:pPr marL="800100" lvl="1" indent="-342900">
              <a:buFont typeface="Arial" panose="020B0604020202020204" pitchFamily="34" charset="0"/>
              <a:buChar char="•"/>
            </a:pPr>
            <a:endParaRPr lang="en-US" sz="2400" dirty="0">
              <a:solidFill>
                <a:schemeClr val="tx1"/>
              </a:solidFill>
              <a:cs typeface="Arial"/>
            </a:endParaRPr>
          </a:p>
          <a:p>
            <a:pPr marL="800100" lvl="1" indent="-342900">
              <a:buFont typeface="Arial" panose="020B0604020202020204" pitchFamily="34" charset="0"/>
              <a:buChar char="•"/>
            </a:pPr>
            <a:endParaRPr lang="en-US" sz="2400" dirty="0">
              <a:solidFill>
                <a:schemeClr val="tx1"/>
              </a:solidFill>
              <a:cs typeface="Arial"/>
            </a:endParaRPr>
          </a:p>
          <a:p>
            <a:pPr marL="800100" lvl="1" indent="-342900">
              <a:buFont typeface="Arial" panose="020B0604020202020204" pitchFamily="34" charset="0"/>
              <a:buChar char="•"/>
            </a:pPr>
            <a:endParaRPr lang="en-US" sz="28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800100" lvl="1" indent="-342900">
              <a:buFont typeface="Arial" panose="020B0604020202020204" pitchFamily="34" charset="0"/>
              <a:buChar char="•"/>
            </a:pPr>
            <a:endParaRPr lang="en-US" sz="2000" dirty="0">
              <a:solidFill>
                <a:schemeClr val="tx1"/>
              </a:solidFill>
              <a:latin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3379151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14A922-65B2-4B52-9A50-79345FA6CB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Object 3" hidden="1">
                        <a:extLst>
                          <a:ext uri="{FF2B5EF4-FFF2-40B4-BE49-F238E27FC236}">
                            <a16:creationId xmlns:a16="http://schemas.microsoft.com/office/drawing/2014/main" id="{E914A922-65B2-4B52-9A50-79345FA6CB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CAFA7A-49A1-4269-BA86-2739DCD9B6A3}"/>
              </a:ext>
            </a:extLst>
          </p:cNvPr>
          <p:cNvSpPr>
            <a:spLocks noGrp="1"/>
          </p:cNvSpPr>
          <p:nvPr>
            <p:ph type="title"/>
          </p:nvPr>
        </p:nvSpPr>
        <p:spPr>
          <a:xfrm>
            <a:off x="630000" y="622800"/>
            <a:ext cx="10933200" cy="1412694"/>
          </a:xfrm>
        </p:spPr>
        <p:txBody>
          <a:bodyPr vert="horz"/>
          <a:lstStyle/>
          <a:p>
            <a:r>
              <a:rPr lang="en-US" dirty="0"/>
              <a:t>Governor </a:t>
            </a:r>
            <a:r>
              <a:rPr lang="en-US" dirty="0" err="1"/>
              <a:t>Hochul</a:t>
            </a:r>
            <a:r>
              <a:rPr lang="en-US" dirty="0"/>
              <a:t> signed an Executive Order on November 4, 2022 calling for the creation of a State Master Plan for Aging to…</a:t>
            </a:r>
          </a:p>
        </p:txBody>
      </p:sp>
      <p:grpSp>
        <p:nvGrpSpPr>
          <p:cNvPr id="18" name="Group 17">
            <a:extLst>
              <a:ext uri="{FF2B5EF4-FFF2-40B4-BE49-F238E27FC236}">
                <a16:creationId xmlns:a16="http://schemas.microsoft.com/office/drawing/2014/main" id="{CC889AA7-3EC0-4708-9432-B0A1E285A077}"/>
              </a:ext>
            </a:extLst>
          </p:cNvPr>
          <p:cNvGrpSpPr/>
          <p:nvPr/>
        </p:nvGrpSpPr>
        <p:grpSpPr>
          <a:xfrm>
            <a:off x="7808377" y="2146594"/>
            <a:ext cx="306171" cy="4079081"/>
            <a:chOff x="5942914" y="2081213"/>
            <a:chExt cx="306171" cy="4079081"/>
          </a:xfrm>
        </p:grpSpPr>
        <p:cxnSp>
          <p:nvCxnSpPr>
            <p:cNvPr id="19" name="Straight Connector 18">
              <a:extLst>
                <a:ext uri="{FF2B5EF4-FFF2-40B4-BE49-F238E27FC236}">
                  <a16:creationId xmlns:a16="http://schemas.microsoft.com/office/drawing/2014/main" id="{2CC1A4BF-C0FF-472E-8F2F-C1B4C175DCC9}"/>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ACEC1EB3-86BE-48CB-9217-3EC27028F153}"/>
                </a:ext>
              </a:extLst>
            </p:cNvPr>
            <p:cNvGrpSpPr/>
            <p:nvPr/>
          </p:nvGrpSpPr>
          <p:grpSpPr>
            <a:xfrm>
              <a:off x="5942914" y="3967299"/>
              <a:ext cx="306171" cy="306910"/>
              <a:chOff x="5937564" y="3833745"/>
              <a:chExt cx="306171" cy="306910"/>
            </a:xfrm>
          </p:grpSpPr>
          <p:sp>
            <p:nvSpPr>
              <p:cNvPr id="21" name="Freeform 94">
                <a:extLst>
                  <a:ext uri="{FF2B5EF4-FFF2-40B4-BE49-F238E27FC236}">
                    <a16:creationId xmlns:a16="http://schemas.microsoft.com/office/drawing/2014/main" id="{25E5751A-9497-44C0-87E5-608B3AB1193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523178"/>
              </a:solidFill>
              <a:ln>
                <a:solidFill>
                  <a:srgbClr val="523178"/>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2" name="Freeform 95">
                <a:extLst>
                  <a:ext uri="{FF2B5EF4-FFF2-40B4-BE49-F238E27FC236}">
                    <a16:creationId xmlns:a16="http://schemas.microsoft.com/office/drawing/2014/main" id="{B15D3C83-03D4-4E03-8276-A1C1F1DB763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23" name="ee4pContent1">
            <a:extLst>
              <a:ext uri="{FF2B5EF4-FFF2-40B4-BE49-F238E27FC236}">
                <a16:creationId xmlns:a16="http://schemas.microsoft.com/office/drawing/2014/main" id="{04B19A95-D724-43A1-A85B-A3D0E44CD5D8}"/>
              </a:ext>
            </a:extLst>
          </p:cNvPr>
          <p:cNvSpPr txBox="1"/>
          <p:nvPr/>
        </p:nvSpPr>
        <p:spPr>
          <a:xfrm>
            <a:off x="1638301" y="2294346"/>
            <a:ext cx="5855784" cy="356118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F1C44"/>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523178"/>
              </a:buClr>
              <a:buSzPct val="100000"/>
              <a:buFont typeface="Trebuchet MS" panose="020B0603020202020204" pitchFamily="34" charset="0"/>
              <a:buChar char="​"/>
              <a:defRPr sz="2000">
                <a:solidFill>
                  <a:srgbClr val="101820"/>
                </a:solidFill>
              </a:defRPr>
            </a:lvl1pPr>
            <a:lvl2pPr marL="324000" lvl="1" indent="-216000">
              <a:buClr>
                <a:srgbClr val="523178"/>
              </a:buClr>
              <a:buSzPct val="100000"/>
              <a:buFont typeface="Trebuchet MS" panose="020B0603020202020204" pitchFamily="34" charset="0"/>
              <a:buChar char="•"/>
              <a:defRPr sz="2000">
                <a:solidFill>
                  <a:srgbClr val="101820"/>
                </a:solidFill>
              </a:defRPr>
            </a:lvl2pPr>
            <a:lvl3pPr marL="648000" lvl="2" indent="-216000">
              <a:buClr>
                <a:srgbClr val="523178"/>
              </a:buClr>
              <a:buSzPct val="100000"/>
              <a:buFont typeface="Trebuchet MS" panose="020B0603020202020204" pitchFamily="34" charset="0"/>
              <a:buChar char="–"/>
              <a:defRPr sz="2000">
                <a:solidFill>
                  <a:srgbClr val="101820"/>
                </a:solidFill>
              </a:defRPr>
            </a:lvl3pPr>
            <a:lvl4pPr marL="0" lvl="3">
              <a:buClr>
                <a:srgbClr val="523178"/>
              </a:buClr>
              <a:buSzPct val="100000"/>
              <a:buFont typeface="Trebuchet MS" panose="020B0603020202020204" pitchFamily="34" charset="0"/>
              <a:buChar char="​"/>
              <a:defRPr sz="2400">
                <a:solidFill>
                  <a:srgbClr val="523178"/>
                </a:solidFill>
              </a:defRPr>
            </a:lvl4pPr>
            <a:lvl5pPr marL="0" lvl="4">
              <a:buClr>
                <a:srgbClr val="523178"/>
              </a:buClr>
              <a:buSzPct val="100000"/>
              <a:buFont typeface="Trebuchet MS" panose="020B0603020202020204" pitchFamily="34" charset="0"/>
              <a:buChar char="​"/>
              <a:defRPr sz="2400" b="1">
                <a:solidFill>
                  <a:srgbClr val="101820"/>
                </a:solidFill>
              </a:defRPr>
            </a:lvl5pPr>
            <a:lvl6pPr marL="324000" lvl="5" indent="-216000">
              <a:buClr>
                <a:srgbClr val="523178"/>
              </a:buClr>
              <a:buSzPct val="100000"/>
              <a:buFont typeface="Trebuchet MS" panose="020B0603020202020204" pitchFamily="34" charset="0"/>
              <a:buChar char="•"/>
              <a:defRPr sz="2400">
                <a:solidFill>
                  <a:srgbClr val="101820"/>
                </a:solidFill>
              </a:defRPr>
            </a:lvl6pPr>
            <a:lvl7pPr marL="0" lvl="6">
              <a:buClr>
                <a:srgbClr val="523178"/>
              </a:buClr>
              <a:buSzPct val="100000"/>
              <a:buFont typeface="Trebuchet MS" panose="020B0603020202020204" pitchFamily="34" charset="0"/>
              <a:buChar char="​"/>
              <a:defRPr sz="5400">
                <a:solidFill>
                  <a:srgbClr val="101820"/>
                </a:solidFill>
              </a:defRPr>
            </a:lvl7pPr>
            <a:lvl8pPr marL="0" lvl="7">
              <a:buClr>
                <a:srgbClr val="523178"/>
              </a:buClr>
              <a:buSzPct val="100000"/>
              <a:buFont typeface="Trebuchet MS" panose="020B0603020202020204" pitchFamily="34" charset="0"/>
              <a:buChar char="​"/>
              <a:defRPr sz="6600">
                <a:solidFill>
                  <a:srgbClr val="523178"/>
                </a:solidFill>
              </a:defRPr>
            </a:lvl8pPr>
            <a:lvl9pPr marL="0" lvl="8">
              <a:buClr>
                <a:srgbClr val="523178"/>
              </a:buClr>
              <a:buSzPct val="100000"/>
              <a:buFont typeface="Trebuchet MS" panose="020B0603020202020204" pitchFamily="34" charset="0"/>
              <a:buChar char="​"/>
              <a:defRPr sz="4400">
                <a:solidFill>
                  <a:srgbClr val="523178"/>
                </a:solidFill>
              </a:defRPr>
            </a:lvl9pPr>
          </a:lstStyle>
          <a:p>
            <a:r>
              <a:rPr lang="en-US" sz="2400" dirty="0"/>
              <a:t>Create a </a:t>
            </a:r>
            <a:r>
              <a:rPr lang="en-US" sz="2400" b="1" dirty="0"/>
              <a:t>blueprint of strategies </a:t>
            </a:r>
            <a:r>
              <a:rPr lang="en-US" sz="2400" dirty="0"/>
              <a:t>for </a:t>
            </a:r>
            <a:r>
              <a:rPr lang="en-US" sz="2400" dirty="0">
                <a:ea typeface="Calibri" panose="020F0502020204030204" pitchFamily="34" charset="0"/>
                <a:cs typeface="Arial" panose="020B0604020202020204" pitchFamily="34" charset="0"/>
              </a:rPr>
              <a:t>government, the private sector, and non-profit sector to support older New Yorkers</a:t>
            </a:r>
            <a:endParaRPr lang="en-US" sz="2400" dirty="0"/>
          </a:p>
          <a:p>
            <a:pPr>
              <a:buNone/>
            </a:pPr>
            <a:endParaRPr lang="en-US" sz="2400" dirty="0"/>
          </a:p>
          <a:p>
            <a:r>
              <a:rPr lang="en-US" sz="2400" b="1" dirty="0"/>
              <a:t>Address challenges </a:t>
            </a:r>
            <a:r>
              <a:rPr lang="en-US" sz="2400" dirty="0"/>
              <a:t>related to communication, coordination, caregiving, long-term financing, and innovative care</a:t>
            </a:r>
          </a:p>
          <a:p>
            <a:pPr>
              <a:buNone/>
            </a:pPr>
            <a:endParaRPr lang="en-US" sz="2400" dirty="0"/>
          </a:p>
          <a:p>
            <a:r>
              <a:rPr lang="en-US" sz="2400" b="1" dirty="0"/>
              <a:t>Coordinate all State policy </a:t>
            </a:r>
            <a:r>
              <a:rPr lang="en-US" sz="2400" dirty="0"/>
              <a:t>and programs</a:t>
            </a:r>
          </a:p>
          <a:p>
            <a:endParaRPr lang="en-US" sz="2400" dirty="0"/>
          </a:p>
        </p:txBody>
      </p:sp>
      <p:sp>
        <p:nvSpPr>
          <p:cNvPr id="24" name="ee4pContent2">
            <a:extLst>
              <a:ext uri="{FF2B5EF4-FFF2-40B4-BE49-F238E27FC236}">
                <a16:creationId xmlns:a16="http://schemas.microsoft.com/office/drawing/2014/main" id="{08C6259B-AC7F-4F6E-B463-DB3169CA6A9E}"/>
              </a:ext>
            </a:extLst>
          </p:cNvPr>
          <p:cNvSpPr txBox="1"/>
          <p:nvPr/>
        </p:nvSpPr>
        <p:spPr>
          <a:xfrm>
            <a:off x="8428840" y="2222983"/>
            <a:ext cx="3134360" cy="376488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F1C44"/>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523178"/>
              </a:buClr>
              <a:buSzPct val="100000"/>
              <a:buFont typeface="Trebuchet MS" panose="020B0603020202020204" pitchFamily="34" charset="0"/>
              <a:buChar char="​"/>
              <a:defRPr sz="2000">
                <a:solidFill>
                  <a:srgbClr val="101820"/>
                </a:solidFill>
              </a:defRPr>
            </a:lvl1pPr>
            <a:lvl2pPr marL="324000" lvl="1" indent="-216000">
              <a:buClr>
                <a:srgbClr val="523178"/>
              </a:buClr>
              <a:buSzPct val="100000"/>
              <a:buFont typeface="Trebuchet MS" panose="020B0603020202020204" pitchFamily="34" charset="0"/>
              <a:buChar char="•"/>
              <a:defRPr sz="2000">
                <a:solidFill>
                  <a:srgbClr val="101820"/>
                </a:solidFill>
              </a:defRPr>
            </a:lvl2pPr>
            <a:lvl3pPr marL="648000" lvl="2" indent="-216000">
              <a:buClr>
                <a:srgbClr val="523178"/>
              </a:buClr>
              <a:buSzPct val="100000"/>
              <a:buFont typeface="Trebuchet MS" panose="020B0603020202020204" pitchFamily="34" charset="0"/>
              <a:buChar char="–"/>
              <a:defRPr sz="2000">
                <a:solidFill>
                  <a:srgbClr val="101820"/>
                </a:solidFill>
              </a:defRPr>
            </a:lvl3pPr>
            <a:lvl4pPr marL="0" lvl="3">
              <a:buClr>
                <a:srgbClr val="523178"/>
              </a:buClr>
              <a:buSzPct val="100000"/>
              <a:buFont typeface="Trebuchet MS" panose="020B0603020202020204" pitchFamily="34" charset="0"/>
              <a:buChar char="​"/>
              <a:defRPr sz="2400">
                <a:solidFill>
                  <a:srgbClr val="523178"/>
                </a:solidFill>
              </a:defRPr>
            </a:lvl4pPr>
            <a:lvl5pPr marL="0" lvl="4">
              <a:buClr>
                <a:srgbClr val="523178"/>
              </a:buClr>
              <a:buSzPct val="100000"/>
              <a:buFont typeface="Trebuchet MS" panose="020B0603020202020204" pitchFamily="34" charset="0"/>
              <a:buChar char="​"/>
              <a:defRPr sz="2400" b="1">
                <a:solidFill>
                  <a:srgbClr val="101820"/>
                </a:solidFill>
              </a:defRPr>
            </a:lvl5pPr>
            <a:lvl6pPr marL="324000" lvl="5" indent="-216000">
              <a:buClr>
                <a:srgbClr val="523178"/>
              </a:buClr>
              <a:buSzPct val="100000"/>
              <a:buFont typeface="Trebuchet MS" panose="020B0603020202020204" pitchFamily="34" charset="0"/>
              <a:buChar char="•"/>
              <a:defRPr sz="2400">
                <a:solidFill>
                  <a:srgbClr val="101820"/>
                </a:solidFill>
              </a:defRPr>
            </a:lvl6pPr>
            <a:lvl7pPr marL="0" lvl="6">
              <a:buClr>
                <a:srgbClr val="523178"/>
              </a:buClr>
              <a:buSzPct val="100000"/>
              <a:buFont typeface="Trebuchet MS" panose="020B0603020202020204" pitchFamily="34" charset="0"/>
              <a:buChar char="​"/>
              <a:defRPr sz="5400">
                <a:solidFill>
                  <a:srgbClr val="101820"/>
                </a:solidFill>
              </a:defRPr>
            </a:lvl7pPr>
            <a:lvl8pPr marL="0" lvl="7">
              <a:buClr>
                <a:srgbClr val="523178"/>
              </a:buClr>
              <a:buSzPct val="100000"/>
              <a:buFont typeface="Trebuchet MS" panose="020B0603020202020204" pitchFamily="34" charset="0"/>
              <a:buChar char="​"/>
              <a:defRPr sz="6600">
                <a:solidFill>
                  <a:srgbClr val="523178"/>
                </a:solidFill>
              </a:defRPr>
            </a:lvl8pPr>
            <a:lvl9pPr marL="0" lvl="8">
              <a:buClr>
                <a:srgbClr val="523178"/>
              </a:buClr>
              <a:buSzPct val="100000"/>
              <a:buFont typeface="Trebuchet MS" panose="020B0603020202020204" pitchFamily="34" charset="0"/>
              <a:buChar char="​"/>
              <a:defRPr sz="4400">
                <a:solidFill>
                  <a:srgbClr val="523178"/>
                </a:solidFill>
              </a:defRPr>
            </a:lvl9pPr>
          </a:lstStyle>
          <a:p>
            <a:r>
              <a:rPr lang="en-US" sz="2400" dirty="0"/>
              <a:t>With the goal of having all older New Yorkers "live </a:t>
            </a:r>
            <a:r>
              <a:rPr lang="en-US" sz="2400" b="1" dirty="0"/>
              <a:t>fulfilling lives</a:t>
            </a:r>
            <a:r>
              <a:rPr lang="en-US" sz="2400" dirty="0"/>
              <a:t>, in </a:t>
            </a:r>
            <a:r>
              <a:rPr lang="en-US" sz="2400" b="1" dirty="0"/>
              <a:t>good health</a:t>
            </a:r>
            <a:r>
              <a:rPr lang="en-US" sz="2400" dirty="0"/>
              <a:t>, with </a:t>
            </a:r>
            <a:r>
              <a:rPr lang="en-US" sz="2400" b="1" dirty="0"/>
              <a:t>freedom, dignity and independence </a:t>
            </a:r>
            <a:r>
              <a:rPr lang="en-US" sz="2400" dirty="0"/>
              <a:t>to </a:t>
            </a:r>
            <a:r>
              <a:rPr lang="en-US" sz="2400" b="1" dirty="0"/>
              <a:t>age in place for as long as possible</a:t>
            </a:r>
            <a:r>
              <a:rPr lang="en-US" sz="2400" dirty="0"/>
              <a:t>"</a:t>
            </a:r>
          </a:p>
        </p:txBody>
      </p:sp>
      <p:grpSp>
        <p:nvGrpSpPr>
          <p:cNvPr id="25" name="bcgIcons_Opportunity Mapping ">
            <a:extLst>
              <a:ext uri="{FF2B5EF4-FFF2-40B4-BE49-F238E27FC236}">
                <a16:creationId xmlns:a16="http://schemas.microsoft.com/office/drawing/2014/main" id="{B1FF0E98-E741-4BEC-8901-19FC54DB8E0D}"/>
              </a:ext>
            </a:extLst>
          </p:cNvPr>
          <p:cNvGrpSpPr>
            <a:grpSpLocks noChangeAspect="1"/>
          </p:cNvGrpSpPr>
          <p:nvPr/>
        </p:nvGrpSpPr>
        <p:grpSpPr bwMode="auto">
          <a:xfrm>
            <a:off x="503755" y="2246054"/>
            <a:ext cx="940924" cy="941796"/>
            <a:chOff x="1682" y="0"/>
            <a:chExt cx="4316" cy="4320"/>
          </a:xfrm>
        </p:grpSpPr>
        <p:sp>
          <p:nvSpPr>
            <p:cNvPr id="26" name="AutoShape 13">
              <a:extLst>
                <a:ext uri="{FF2B5EF4-FFF2-40B4-BE49-F238E27FC236}">
                  <a16:creationId xmlns:a16="http://schemas.microsoft.com/office/drawing/2014/main" id="{B44B3185-250F-470B-89CC-42C73ACA088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5">
              <a:extLst>
                <a:ext uri="{FF2B5EF4-FFF2-40B4-BE49-F238E27FC236}">
                  <a16:creationId xmlns:a16="http://schemas.microsoft.com/office/drawing/2014/main" id="{9200FCDB-50C3-4540-89AE-91F3ED5586DB}"/>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a:extLst>
                <a:ext uri="{FF2B5EF4-FFF2-40B4-BE49-F238E27FC236}">
                  <a16:creationId xmlns:a16="http://schemas.microsoft.com/office/drawing/2014/main" id="{83256A1C-E8BD-475B-8417-1750A0A67580}"/>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 name="bcgIcons_Unification ">
            <a:extLst>
              <a:ext uri="{FF2B5EF4-FFF2-40B4-BE49-F238E27FC236}">
                <a16:creationId xmlns:a16="http://schemas.microsoft.com/office/drawing/2014/main" id="{88E5FBE3-E75F-4346-81AB-C29225E82060}"/>
              </a:ext>
            </a:extLst>
          </p:cNvPr>
          <p:cNvGrpSpPr>
            <a:grpSpLocks noChangeAspect="1"/>
          </p:cNvGrpSpPr>
          <p:nvPr/>
        </p:nvGrpSpPr>
        <p:grpSpPr bwMode="auto">
          <a:xfrm>
            <a:off x="503755" y="5113712"/>
            <a:ext cx="940924" cy="941796"/>
            <a:chOff x="1682" y="0"/>
            <a:chExt cx="4316" cy="4320"/>
          </a:xfrm>
        </p:grpSpPr>
        <p:sp>
          <p:nvSpPr>
            <p:cNvPr id="30" name="AutoShape 8">
              <a:extLst>
                <a:ext uri="{FF2B5EF4-FFF2-40B4-BE49-F238E27FC236}">
                  <a16:creationId xmlns:a16="http://schemas.microsoft.com/office/drawing/2014/main" id="{F4CFC670-D522-47F8-9FA5-3D5C857BE7F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0">
              <a:extLst>
                <a:ext uri="{FF2B5EF4-FFF2-40B4-BE49-F238E27FC236}">
                  <a16:creationId xmlns:a16="http://schemas.microsoft.com/office/drawing/2014/main" id="{4B6A937E-7C13-499E-9F0B-D7A2658610F1}"/>
                </a:ext>
              </a:extLst>
            </p:cNvPr>
            <p:cNvSpPr>
              <a:spLocks noEditPoints="1"/>
            </p:cNvSpPr>
            <p:nvPr/>
          </p:nvSpPr>
          <p:spPr bwMode="auto">
            <a:xfrm>
              <a:off x="2090" y="750"/>
              <a:ext cx="3500" cy="2824"/>
            </a:xfrm>
            <a:custGeom>
              <a:avLst/>
              <a:gdLst>
                <a:gd name="T0" fmla="*/ 1116 w 1868"/>
                <a:gd name="T1" fmla="*/ 44 h 1506"/>
                <a:gd name="T2" fmla="*/ 1164 w 1868"/>
                <a:gd name="T3" fmla="*/ 64 h 1506"/>
                <a:gd name="T4" fmla="*/ 1805 w 1868"/>
                <a:gd name="T5" fmla="*/ 705 h 1506"/>
                <a:gd name="T6" fmla="*/ 1824 w 1868"/>
                <a:gd name="T7" fmla="*/ 753 h 1506"/>
                <a:gd name="T8" fmla="*/ 1805 w 1868"/>
                <a:gd name="T9" fmla="*/ 801 h 1506"/>
                <a:gd name="T10" fmla="*/ 1164 w 1868"/>
                <a:gd name="T11" fmla="*/ 1442 h 1506"/>
                <a:gd name="T12" fmla="*/ 1116 w 1868"/>
                <a:gd name="T13" fmla="*/ 1462 h 1506"/>
                <a:gd name="T14" fmla="*/ 1068 w 1868"/>
                <a:gd name="T15" fmla="*/ 1442 h 1506"/>
                <a:gd name="T16" fmla="*/ 934 w 1868"/>
                <a:gd name="T17" fmla="*/ 1308 h 1506"/>
                <a:gd name="T18" fmla="*/ 800 w 1868"/>
                <a:gd name="T19" fmla="*/ 1442 h 1506"/>
                <a:gd name="T20" fmla="*/ 752 w 1868"/>
                <a:gd name="T21" fmla="*/ 1462 h 1506"/>
                <a:gd name="T22" fmla="*/ 704 w 1868"/>
                <a:gd name="T23" fmla="*/ 1442 h 1506"/>
                <a:gd name="T24" fmla="*/ 63 w 1868"/>
                <a:gd name="T25" fmla="*/ 801 h 1506"/>
                <a:gd name="T26" fmla="*/ 44 w 1868"/>
                <a:gd name="T27" fmla="*/ 753 h 1506"/>
                <a:gd name="T28" fmla="*/ 63 w 1868"/>
                <a:gd name="T29" fmla="*/ 705 h 1506"/>
                <a:gd name="T30" fmla="*/ 704 w 1868"/>
                <a:gd name="T31" fmla="*/ 64 h 1506"/>
                <a:gd name="T32" fmla="*/ 752 w 1868"/>
                <a:gd name="T33" fmla="*/ 44 h 1506"/>
                <a:gd name="T34" fmla="*/ 800 w 1868"/>
                <a:gd name="T35" fmla="*/ 64 h 1506"/>
                <a:gd name="T36" fmla="*/ 934 w 1868"/>
                <a:gd name="T37" fmla="*/ 198 h 1506"/>
                <a:gd name="T38" fmla="*/ 1068 w 1868"/>
                <a:gd name="T39" fmla="*/ 64 h 1506"/>
                <a:gd name="T40" fmla="*/ 1116 w 1868"/>
                <a:gd name="T41" fmla="*/ 44 h 1506"/>
                <a:gd name="T42" fmla="*/ 1116 w 1868"/>
                <a:gd name="T43" fmla="*/ 0 h 1506"/>
                <a:gd name="T44" fmla="*/ 1037 w 1868"/>
                <a:gd name="T45" fmla="*/ 33 h 1506"/>
                <a:gd name="T46" fmla="*/ 934 w 1868"/>
                <a:gd name="T47" fmla="*/ 136 h 1506"/>
                <a:gd name="T48" fmla="*/ 831 w 1868"/>
                <a:gd name="T49" fmla="*/ 33 h 1506"/>
                <a:gd name="T50" fmla="*/ 752 w 1868"/>
                <a:gd name="T51" fmla="*/ 0 h 1506"/>
                <a:gd name="T52" fmla="*/ 673 w 1868"/>
                <a:gd name="T53" fmla="*/ 33 h 1506"/>
                <a:gd name="T54" fmla="*/ 32 w 1868"/>
                <a:gd name="T55" fmla="*/ 674 h 1506"/>
                <a:gd name="T56" fmla="*/ 0 w 1868"/>
                <a:gd name="T57" fmla="*/ 753 h 1506"/>
                <a:gd name="T58" fmla="*/ 32 w 1868"/>
                <a:gd name="T59" fmla="*/ 832 h 1506"/>
                <a:gd name="T60" fmla="*/ 673 w 1868"/>
                <a:gd name="T61" fmla="*/ 1473 h 1506"/>
                <a:gd name="T62" fmla="*/ 752 w 1868"/>
                <a:gd name="T63" fmla="*/ 1506 h 1506"/>
                <a:gd name="T64" fmla="*/ 831 w 1868"/>
                <a:gd name="T65" fmla="*/ 1473 h 1506"/>
                <a:gd name="T66" fmla="*/ 934 w 1868"/>
                <a:gd name="T67" fmla="*/ 1370 h 1506"/>
                <a:gd name="T68" fmla="*/ 1037 w 1868"/>
                <a:gd name="T69" fmla="*/ 1473 h 1506"/>
                <a:gd name="T70" fmla="*/ 1116 w 1868"/>
                <a:gd name="T71" fmla="*/ 1506 h 1506"/>
                <a:gd name="T72" fmla="*/ 1195 w 1868"/>
                <a:gd name="T73" fmla="*/ 1473 h 1506"/>
                <a:gd name="T74" fmla="*/ 1836 w 1868"/>
                <a:gd name="T75" fmla="*/ 832 h 1506"/>
                <a:gd name="T76" fmla="*/ 1868 w 1868"/>
                <a:gd name="T77" fmla="*/ 753 h 1506"/>
                <a:gd name="T78" fmla="*/ 1836 w 1868"/>
                <a:gd name="T79" fmla="*/ 674 h 1506"/>
                <a:gd name="T80" fmla="*/ 1195 w 1868"/>
                <a:gd name="T81" fmla="*/ 33 h 1506"/>
                <a:gd name="T82" fmla="*/ 1116 w 1868"/>
                <a:gd name="T83" fmla="*/ 0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68" h="1506">
                  <a:moveTo>
                    <a:pt x="1116" y="44"/>
                  </a:moveTo>
                  <a:cubicBezTo>
                    <a:pt x="1134" y="44"/>
                    <a:pt x="1151" y="51"/>
                    <a:pt x="1164" y="64"/>
                  </a:cubicBezTo>
                  <a:cubicBezTo>
                    <a:pt x="1805" y="705"/>
                    <a:pt x="1805" y="705"/>
                    <a:pt x="1805" y="705"/>
                  </a:cubicBezTo>
                  <a:cubicBezTo>
                    <a:pt x="1817" y="718"/>
                    <a:pt x="1824" y="735"/>
                    <a:pt x="1824" y="753"/>
                  </a:cubicBezTo>
                  <a:cubicBezTo>
                    <a:pt x="1824" y="771"/>
                    <a:pt x="1817" y="788"/>
                    <a:pt x="1805" y="801"/>
                  </a:cubicBezTo>
                  <a:cubicBezTo>
                    <a:pt x="1164" y="1442"/>
                    <a:pt x="1164" y="1442"/>
                    <a:pt x="1164" y="1442"/>
                  </a:cubicBezTo>
                  <a:cubicBezTo>
                    <a:pt x="1151" y="1455"/>
                    <a:pt x="1134" y="1462"/>
                    <a:pt x="1116" y="1462"/>
                  </a:cubicBezTo>
                  <a:cubicBezTo>
                    <a:pt x="1098" y="1462"/>
                    <a:pt x="1081" y="1455"/>
                    <a:pt x="1068" y="1442"/>
                  </a:cubicBezTo>
                  <a:cubicBezTo>
                    <a:pt x="934" y="1308"/>
                    <a:pt x="934" y="1308"/>
                    <a:pt x="934" y="1308"/>
                  </a:cubicBezTo>
                  <a:cubicBezTo>
                    <a:pt x="800" y="1442"/>
                    <a:pt x="800" y="1442"/>
                    <a:pt x="800" y="1442"/>
                  </a:cubicBezTo>
                  <a:cubicBezTo>
                    <a:pt x="787" y="1455"/>
                    <a:pt x="770" y="1462"/>
                    <a:pt x="752" y="1462"/>
                  </a:cubicBezTo>
                  <a:cubicBezTo>
                    <a:pt x="734" y="1462"/>
                    <a:pt x="717" y="1455"/>
                    <a:pt x="704" y="1442"/>
                  </a:cubicBezTo>
                  <a:cubicBezTo>
                    <a:pt x="63" y="801"/>
                    <a:pt x="63" y="801"/>
                    <a:pt x="63" y="801"/>
                  </a:cubicBezTo>
                  <a:cubicBezTo>
                    <a:pt x="51" y="788"/>
                    <a:pt x="44" y="771"/>
                    <a:pt x="44" y="753"/>
                  </a:cubicBezTo>
                  <a:cubicBezTo>
                    <a:pt x="44" y="735"/>
                    <a:pt x="51" y="718"/>
                    <a:pt x="63" y="705"/>
                  </a:cubicBezTo>
                  <a:cubicBezTo>
                    <a:pt x="704" y="64"/>
                    <a:pt x="704" y="64"/>
                    <a:pt x="704" y="64"/>
                  </a:cubicBezTo>
                  <a:cubicBezTo>
                    <a:pt x="717" y="51"/>
                    <a:pt x="734" y="44"/>
                    <a:pt x="752" y="44"/>
                  </a:cubicBezTo>
                  <a:cubicBezTo>
                    <a:pt x="770" y="44"/>
                    <a:pt x="787" y="51"/>
                    <a:pt x="800" y="64"/>
                  </a:cubicBezTo>
                  <a:cubicBezTo>
                    <a:pt x="934" y="198"/>
                    <a:pt x="934" y="198"/>
                    <a:pt x="934" y="198"/>
                  </a:cubicBezTo>
                  <a:cubicBezTo>
                    <a:pt x="1068" y="64"/>
                    <a:pt x="1068" y="64"/>
                    <a:pt x="1068" y="64"/>
                  </a:cubicBezTo>
                  <a:cubicBezTo>
                    <a:pt x="1081" y="51"/>
                    <a:pt x="1098" y="44"/>
                    <a:pt x="1116" y="44"/>
                  </a:cubicBezTo>
                  <a:moveTo>
                    <a:pt x="1116" y="0"/>
                  </a:moveTo>
                  <a:cubicBezTo>
                    <a:pt x="1086" y="0"/>
                    <a:pt x="1058" y="12"/>
                    <a:pt x="1037" y="33"/>
                  </a:cubicBezTo>
                  <a:cubicBezTo>
                    <a:pt x="934" y="136"/>
                    <a:pt x="934" y="136"/>
                    <a:pt x="934" y="136"/>
                  </a:cubicBezTo>
                  <a:cubicBezTo>
                    <a:pt x="831" y="33"/>
                    <a:pt x="831" y="33"/>
                    <a:pt x="831" y="33"/>
                  </a:cubicBezTo>
                  <a:cubicBezTo>
                    <a:pt x="810" y="12"/>
                    <a:pt x="782" y="0"/>
                    <a:pt x="752" y="0"/>
                  </a:cubicBezTo>
                  <a:cubicBezTo>
                    <a:pt x="722" y="0"/>
                    <a:pt x="694" y="12"/>
                    <a:pt x="673" y="33"/>
                  </a:cubicBezTo>
                  <a:cubicBezTo>
                    <a:pt x="32" y="674"/>
                    <a:pt x="32" y="674"/>
                    <a:pt x="32" y="674"/>
                  </a:cubicBezTo>
                  <a:cubicBezTo>
                    <a:pt x="11" y="695"/>
                    <a:pt x="0" y="723"/>
                    <a:pt x="0" y="753"/>
                  </a:cubicBezTo>
                  <a:cubicBezTo>
                    <a:pt x="0" y="783"/>
                    <a:pt x="11" y="811"/>
                    <a:pt x="32" y="832"/>
                  </a:cubicBezTo>
                  <a:cubicBezTo>
                    <a:pt x="673" y="1473"/>
                    <a:pt x="673" y="1473"/>
                    <a:pt x="673" y="1473"/>
                  </a:cubicBezTo>
                  <a:cubicBezTo>
                    <a:pt x="694" y="1494"/>
                    <a:pt x="722" y="1506"/>
                    <a:pt x="752" y="1506"/>
                  </a:cubicBezTo>
                  <a:cubicBezTo>
                    <a:pt x="782" y="1506"/>
                    <a:pt x="810" y="1494"/>
                    <a:pt x="831" y="1473"/>
                  </a:cubicBezTo>
                  <a:cubicBezTo>
                    <a:pt x="934" y="1370"/>
                    <a:pt x="934" y="1370"/>
                    <a:pt x="934" y="1370"/>
                  </a:cubicBezTo>
                  <a:cubicBezTo>
                    <a:pt x="1037" y="1473"/>
                    <a:pt x="1037" y="1473"/>
                    <a:pt x="1037" y="1473"/>
                  </a:cubicBezTo>
                  <a:cubicBezTo>
                    <a:pt x="1058" y="1494"/>
                    <a:pt x="1086" y="1506"/>
                    <a:pt x="1116" y="1506"/>
                  </a:cubicBezTo>
                  <a:cubicBezTo>
                    <a:pt x="1146" y="1506"/>
                    <a:pt x="1174" y="1494"/>
                    <a:pt x="1195" y="1473"/>
                  </a:cubicBezTo>
                  <a:cubicBezTo>
                    <a:pt x="1836" y="832"/>
                    <a:pt x="1836" y="832"/>
                    <a:pt x="1836" y="832"/>
                  </a:cubicBezTo>
                  <a:cubicBezTo>
                    <a:pt x="1857" y="811"/>
                    <a:pt x="1868" y="783"/>
                    <a:pt x="1868" y="753"/>
                  </a:cubicBezTo>
                  <a:cubicBezTo>
                    <a:pt x="1868" y="723"/>
                    <a:pt x="1857" y="695"/>
                    <a:pt x="1836" y="674"/>
                  </a:cubicBezTo>
                  <a:cubicBezTo>
                    <a:pt x="1195" y="33"/>
                    <a:pt x="1195" y="33"/>
                    <a:pt x="1195" y="33"/>
                  </a:cubicBezTo>
                  <a:cubicBezTo>
                    <a:pt x="1174" y="12"/>
                    <a:pt x="1146" y="0"/>
                    <a:pt x="1116" y="0"/>
                  </a:cubicBez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1">
              <a:extLst>
                <a:ext uri="{FF2B5EF4-FFF2-40B4-BE49-F238E27FC236}">
                  <a16:creationId xmlns:a16="http://schemas.microsoft.com/office/drawing/2014/main" id="{5F97A61A-6273-4EED-8EDE-4BF9543BE9BE}"/>
                </a:ext>
              </a:extLst>
            </p:cNvPr>
            <p:cNvSpPr>
              <a:spLocks noEditPoints="1"/>
            </p:cNvSpPr>
            <p:nvPr/>
          </p:nvSpPr>
          <p:spPr bwMode="auto">
            <a:xfrm>
              <a:off x="2250" y="911"/>
              <a:ext cx="3180" cy="2502"/>
            </a:xfrm>
            <a:custGeom>
              <a:avLst/>
              <a:gdLst>
                <a:gd name="T0" fmla="*/ 849 w 1698"/>
                <a:gd name="T1" fmla="*/ 1159 h 1334"/>
                <a:gd name="T2" fmla="*/ 849 w 1698"/>
                <a:gd name="T3" fmla="*/ 1159 h 1334"/>
                <a:gd name="T4" fmla="*/ 373 w 1698"/>
                <a:gd name="T5" fmla="*/ 684 h 1334"/>
                <a:gd name="T6" fmla="*/ 373 w 1698"/>
                <a:gd name="T7" fmla="*/ 650 h 1334"/>
                <a:gd name="T8" fmla="*/ 849 w 1698"/>
                <a:gd name="T9" fmla="*/ 175 h 1334"/>
                <a:gd name="T10" fmla="*/ 1325 w 1698"/>
                <a:gd name="T11" fmla="*/ 650 h 1334"/>
                <a:gd name="T12" fmla="*/ 1325 w 1698"/>
                <a:gd name="T13" fmla="*/ 684 h 1334"/>
                <a:gd name="T14" fmla="*/ 849 w 1698"/>
                <a:gd name="T15" fmla="*/ 1159 h 1334"/>
                <a:gd name="T16" fmla="*/ 1689 w 1698"/>
                <a:gd name="T17" fmla="*/ 650 h 1334"/>
                <a:gd name="T18" fmla="*/ 1048 w 1698"/>
                <a:gd name="T19" fmla="*/ 9 h 1334"/>
                <a:gd name="T20" fmla="*/ 1014 w 1698"/>
                <a:gd name="T21" fmla="*/ 9 h 1334"/>
                <a:gd name="T22" fmla="*/ 880 w 1698"/>
                <a:gd name="T23" fmla="*/ 143 h 1334"/>
                <a:gd name="T24" fmla="*/ 1356 w 1698"/>
                <a:gd name="T25" fmla="*/ 619 h 1334"/>
                <a:gd name="T26" fmla="*/ 1376 w 1698"/>
                <a:gd name="T27" fmla="*/ 667 h 1334"/>
                <a:gd name="T28" fmla="*/ 1356 w 1698"/>
                <a:gd name="T29" fmla="*/ 715 h 1334"/>
                <a:gd name="T30" fmla="*/ 880 w 1698"/>
                <a:gd name="T31" fmla="*/ 1191 h 1334"/>
                <a:gd name="T32" fmla="*/ 1014 w 1698"/>
                <a:gd name="T33" fmla="*/ 1325 h 1334"/>
                <a:gd name="T34" fmla="*/ 1048 w 1698"/>
                <a:gd name="T35" fmla="*/ 1325 h 1334"/>
                <a:gd name="T36" fmla="*/ 1689 w 1698"/>
                <a:gd name="T37" fmla="*/ 684 h 1334"/>
                <a:gd name="T38" fmla="*/ 1689 w 1698"/>
                <a:gd name="T39" fmla="*/ 650 h 1334"/>
                <a:gd name="T40" fmla="*/ 342 w 1698"/>
                <a:gd name="T41" fmla="*/ 715 h 1334"/>
                <a:gd name="T42" fmla="*/ 322 w 1698"/>
                <a:gd name="T43" fmla="*/ 667 h 1334"/>
                <a:gd name="T44" fmla="*/ 342 w 1698"/>
                <a:gd name="T45" fmla="*/ 619 h 1334"/>
                <a:gd name="T46" fmla="*/ 818 w 1698"/>
                <a:gd name="T47" fmla="*/ 143 h 1334"/>
                <a:gd name="T48" fmla="*/ 684 w 1698"/>
                <a:gd name="T49" fmla="*/ 9 h 1334"/>
                <a:gd name="T50" fmla="*/ 650 w 1698"/>
                <a:gd name="T51" fmla="*/ 9 h 1334"/>
                <a:gd name="T52" fmla="*/ 9 w 1698"/>
                <a:gd name="T53" fmla="*/ 650 h 1334"/>
                <a:gd name="T54" fmla="*/ 9 w 1698"/>
                <a:gd name="T55" fmla="*/ 684 h 1334"/>
                <a:gd name="T56" fmla="*/ 650 w 1698"/>
                <a:gd name="T57" fmla="*/ 1325 h 1334"/>
                <a:gd name="T58" fmla="*/ 684 w 1698"/>
                <a:gd name="T59" fmla="*/ 1325 h 1334"/>
                <a:gd name="T60" fmla="*/ 818 w 1698"/>
                <a:gd name="T61" fmla="*/ 1191 h 1334"/>
                <a:gd name="T62" fmla="*/ 342 w 1698"/>
                <a:gd name="T63" fmla="*/ 715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8" h="1334">
                  <a:moveTo>
                    <a:pt x="849" y="1159"/>
                  </a:moveTo>
                  <a:cubicBezTo>
                    <a:pt x="849" y="1159"/>
                    <a:pt x="849" y="1159"/>
                    <a:pt x="849" y="1159"/>
                  </a:cubicBezTo>
                  <a:cubicBezTo>
                    <a:pt x="373" y="684"/>
                    <a:pt x="373" y="684"/>
                    <a:pt x="373" y="684"/>
                  </a:cubicBezTo>
                  <a:cubicBezTo>
                    <a:pt x="364" y="674"/>
                    <a:pt x="364" y="660"/>
                    <a:pt x="373" y="650"/>
                  </a:cubicBezTo>
                  <a:cubicBezTo>
                    <a:pt x="849" y="175"/>
                    <a:pt x="849" y="175"/>
                    <a:pt x="849" y="175"/>
                  </a:cubicBezTo>
                  <a:cubicBezTo>
                    <a:pt x="1325" y="650"/>
                    <a:pt x="1325" y="650"/>
                    <a:pt x="1325" y="650"/>
                  </a:cubicBezTo>
                  <a:cubicBezTo>
                    <a:pt x="1334" y="660"/>
                    <a:pt x="1334" y="674"/>
                    <a:pt x="1325" y="684"/>
                  </a:cubicBezTo>
                  <a:cubicBezTo>
                    <a:pt x="849" y="1159"/>
                    <a:pt x="849" y="1159"/>
                    <a:pt x="849" y="1159"/>
                  </a:cubicBezTo>
                  <a:close/>
                  <a:moveTo>
                    <a:pt x="1689" y="650"/>
                  </a:moveTo>
                  <a:cubicBezTo>
                    <a:pt x="1048" y="9"/>
                    <a:pt x="1048" y="9"/>
                    <a:pt x="1048" y="9"/>
                  </a:cubicBezTo>
                  <a:cubicBezTo>
                    <a:pt x="1038" y="0"/>
                    <a:pt x="1023" y="0"/>
                    <a:pt x="1014" y="9"/>
                  </a:cubicBezTo>
                  <a:cubicBezTo>
                    <a:pt x="880" y="143"/>
                    <a:pt x="880" y="143"/>
                    <a:pt x="880" y="143"/>
                  </a:cubicBezTo>
                  <a:cubicBezTo>
                    <a:pt x="1356" y="619"/>
                    <a:pt x="1356" y="619"/>
                    <a:pt x="1356" y="619"/>
                  </a:cubicBezTo>
                  <a:cubicBezTo>
                    <a:pt x="1369" y="632"/>
                    <a:pt x="1376" y="649"/>
                    <a:pt x="1376" y="667"/>
                  </a:cubicBezTo>
                  <a:cubicBezTo>
                    <a:pt x="1376" y="685"/>
                    <a:pt x="1369" y="702"/>
                    <a:pt x="1356" y="715"/>
                  </a:cubicBezTo>
                  <a:cubicBezTo>
                    <a:pt x="880" y="1191"/>
                    <a:pt x="880" y="1191"/>
                    <a:pt x="880" y="1191"/>
                  </a:cubicBezTo>
                  <a:cubicBezTo>
                    <a:pt x="1014" y="1325"/>
                    <a:pt x="1014" y="1325"/>
                    <a:pt x="1014" y="1325"/>
                  </a:cubicBezTo>
                  <a:cubicBezTo>
                    <a:pt x="1023" y="1334"/>
                    <a:pt x="1038" y="1334"/>
                    <a:pt x="1048" y="1325"/>
                  </a:cubicBezTo>
                  <a:cubicBezTo>
                    <a:pt x="1689" y="684"/>
                    <a:pt x="1689" y="684"/>
                    <a:pt x="1689" y="684"/>
                  </a:cubicBezTo>
                  <a:cubicBezTo>
                    <a:pt x="1698" y="674"/>
                    <a:pt x="1698" y="660"/>
                    <a:pt x="1689" y="650"/>
                  </a:cubicBezTo>
                  <a:close/>
                  <a:moveTo>
                    <a:pt x="342" y="715"/>
                  </a:moveTo>
                  <a:cubicBezTo>
                    <a:pt x="329" y="702"/>
                    <a:pt x="322" y="685"/>
                    <a:pt x="322" y="667"/>
                  </a:cubicBezTo>
                  <a:cubicBezTo>
                    <a:pt x="322" y="649"/>
                    <a:pt x="329" y="632"/>
                    <a:pt x="342" y="619"/>
                  </a:cubicBezTo>
                  <a:cubicBezTo>
                    <a:pt x="818" y="143"/>
                    <a:pt x="818" y="143"/>
                    <a:pt x="818" y="143"/>
                  </a:cubicBezTo>
                  <a:cubicBezTo>
                    <a:pt x="684" y="9"/>
                    <a:pt x="684" y="9"/>
                    <a:pt x="684" y="9"/>
                  </a:cubicBezTo>
                  <a:cubicBezTo>
                    <a:pt x="675" y="0"/>
                    <a:pt x="660" y="0"/>
                    <a:pt x="650" y="9"/>
                  </a:cubicBezTo>
                  <a:cubicBezTo>
                    <a:pt x="9" y="650"/>
                    <a:pt x="9" y="650"/>
                    <a:pt x="9" y="650"/>
                  </a:cubicBezTo>
                  <a:cubicBezTo>
                    <a:pt x="0" y="660"/>
                    <a:pt x="0" y="674"/>
                    <a:pt x="9" y="684"/>
                  </a:cubicBezTo>
                  <a:cubicBezTo>
                    <a:pt x="650" y="1325"/>
                    <a:pt x="650" y="1325"/>
                    <a:pt x="650" y="1325"/>
                  </a:cubicBezTo>
                  <a:cubicBezTo>
                    <a:pt x="660" y="1334"/>
                    <a:pt x="675" y="1334"/>
                    <a:pt x="684" y="1325"/>
                  </a:cubicBezTo>
                  <a:cubicBezTo>
                    <a:pt x="818" y="1191"/>
                    <a:pt x="818" y="1191"/>
                    <a:pt x="818" y="1191"/>
                  </a:cubicBezTo>
                  <a:lnTo>
                    <a:pt x="342" y="715"/>
                  </a:ln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 name="bcgIcons_Innovation ">
            <a:extLst>
              <a:ext uri="{FF2B5EF4-FFF2-40B4-BE49-F238E27FC236}">
                <a16:creationId xmlns:a16="http://schemas.microsoft.com/office/drawing/2014/main" id="{4E862888-632F-4BFE-99C9-C51974FDDA85}"/>
              </a:ext>
            </a:extLst>
          </p:cNvPr>
          <p:cNvGrpSpPr>
            <a:grpSpLocks noChangeAspect="1"/>
          </p:cNvGrpSpPr>
          <p:nvPr/>
        </p:nvGrpSpPr>
        <p:grpSpPr>
          <a:xfrm>
            <a:off x="502864" y="3729918"/>
            <a:ext cx="942705" cy="941796"/>
            <a:chOff x="5272088" y="2606675"/>
            <a:chExt cx="1646237" cy="1644650"/>
          </a:xfrm>
        </p:grpSpPr>
        <p:sp>
          <p:nvSpPr>
            <p:cNvPr id="34" name="AutoShape 26">
              <a:extLst>
                <a:ext uri="{FF2B5EF4-FFF2-40B4-BE49-F238E27FC236}">
                  <a16:creationId xmlns:a16="http://schemas.microsoft.com/office/drawing/2014/main" id="{A2FB745C-BBBA-4AD5-93D2-1847D2587E78}"/>
                </a:ext>
              </a:extLst>
            </p:cNvPr>
            <p:cNvSpPr>
              <a:spLocks noChangeAspect="1" noChangeArrowheads="1" noTextEdit="1"/>
            </p:cNvSpPr>
            <p:nvPr/>
          </p:nvSpPr>
          <p:spPr bwMode="auto">
            <a:xfrm>
              <a:off x="5272088" y="2606675"/>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5709570D-3000-4A97-A43E-73AAB9135B23}"/>
                </a:ext>
              </a:extLst>
            </p:cNvPr>
            <p:cNvGrpSpPr/>
            <p:nvPr/>
          </p:nvGrpSpPr>
          <p:grpSpPr>
            <a:xfrm>
              <a:off x="5719763" y="2797175"/>
              <a:ext cx="768348" cy="1255713"/>
              <a:chOff x="5719763" y="2797175"/>
              <a:chExt cx="768348" cy="1255713"/>
            </a:xfrm>
          </p:grpSpPr>
          <p:sp>
            <p:nvSpPr>
              <p:cNvPr id="36" name="Freeform 10">
                <a:extLst>
                  <a:ext uri="{FF2B5EF4-FFF2-40B4-BE49-F238E27FC236}">
                    <a16:creationId xmlns:a16="http://schemas.microsoft.com/office/drawing/2014/main" id="{1F40D604-7D2A-4603-BB41-65B9D0196870}"/>
                  </a:ext>
                </a:extLst>
              </p:cNvPr>
              <p:cNvSpPr>
                <a:spLocks/>
              </p:cNvSpPr>
              <p:nvPr/>
            </p:nvSpPr>
            <p:spPr bwMode="auto">
              <a:xfrm>
                <a:off x="5719763" y="2797175"/>
                <a:ext cx="744537" cy="869951"/>
              </a:xfrm>
              <a:custGeom>
                <a:avLst/>
                <a:gdLst>
                  <a:gd name="connsiteX0" fmla="*/ 527050 w 744537"/>
                  <a:gd name="connsiteY0" fmla="*/ 838200 h 869951"/>
                  <a:gd name="connsiteX1" fmla="*/ 551039 w 744537"/>
                  <a:gd name="connsiteY1" fmla="*/ 842433 h 869951"/>
                  <a:gd name="connsiteX2" fmla="*/ 558800 w 744537"/>
                  <a:gd name="connsiteY2" fmla="*/ 841728 h 869951"/>
                  <a:gd name="connsiteX3" fmla="*/ 558800 w 744537"/>
                  <a:gd name="connsiteY3" fmla="*/ 869950 h 869951"/>
                  <a:gd name="connsiteX4" fmla="*/ 527050 w 744537"/>
                  <a:gd name="connsiteY4" fmla="*/ 869950 h 869951"/>
                  <a:gd name="connsiteX5" fmla="*/ 527050 w 744537"/>
                  <a:gd name="connsiteY5" fmla="*/ 838200 h 869951"/>
                  <a:gd name="connsiteX6" fmla="*/ 379931 w 744537"/>
                  <a:gd name="connsiteY6" fmla="*/ 654050 h 869951"/>
                  <a:gd name="connsiteX7" fmla="*/ 503237 w 744537"/>
                  <a:gd name="connsiteY7" fmla="*/ 725568 h 869951"/>
                  <a:gd name="connsiteX8" fmla="*/ 486844 w 744537"/>
                  <a:gd name="connsiteY8" fmla="*/ 752475 h 869951"/>
                  <a:gd name="connsiteX9" fmla="*/ 363537 w 744537"/>
                  <a:gd name="connsiteY9" fmla="*/ 680250 h 869951"/>
                  <a:gd name="connsiteX10" fmla="*/ 379931 w 744537"/>
                  <a:gd name="connsiteY10" fmla="*/ 654050 h 869951"/>
                  <a:gd name="connsiteX11" fmla="*/ 103785 w 744537"/>
                  <a:gd name="connsiteY11" fmla="*/ 582613 h 869951"/>
                  <a:gd name="connsiteX12" fmla="*/ 115102 w 744537"/>
                  <a:gd name="connsiteY12" fmla="*/ 596873 h 869951"/>
                  <a:gd name="connsiteX13" fmla="*/ 219075 w 744537"/>
                  <a:gd name="connsiteY13" fmla="*/ 807920 h 869951"/>
                  <a:gd name="connsiteX14" fmla="*/ 219075 w 744537"/>
                  <a:gd name="connsiteY14" fmla="*/ 869951 h 869951"/>
                  <a:gd name="connsiteX15" fmla="*/ 187954 w 744537"/>
                  <a:gd name="connsiteY15" fmla="*/ 869951 h 869951"/>
                  <a:gd name="connsiteX16" fmla="*/ 187954 w 744537"/>
                  <a:gd name="connsiteY16" fmla="*/ 807920 h 869951"/>
                  <a:gd name="connsiteX17" fmla="*/ 93175 w 744537"/>
                  <a:gd name="connsiteY17" fmla="*/ 618263 h 869951"/>
                  <a:gd name="connsiteX18" fmla="*/ 92468 w 744537"/>
                  <a:gd name="connsiteY18" fmla="*/ 617550 h 869951"/>
                  <a:gd name="connsiteX19" fmla="*/ 76200 w 744537"/>
                  <a:gd name="connsiteY19" fmla="*/ 597586 h 869951"/>
                  <a:gd name="connsiteX20" fmla="*/ 103785 w 744537"/>
                  <a:gd name="connsiteY20" fmla="*/ 582613 h 869951"/>
                  <a:gd name="connsiteX21" fmla="*/ 699573 w 744537"/>
                  <a:gd name="connsiteY21" fmla="*/ 469900 h 869951"/>
                  <a:gd name="connsiteX22" fmla="*/ 730249 w 744537"/>
                  <a:gd name="connsiteY22" fmla="*/ 477065 h 869951"/>
                  <a:gd name="connsiteX23" fmla="*/ 656055 w 744537"/>
                  <a:gd name="connsiteY23" fmla="*/ 614630 h 869951"/>
                  <a:gd name="connsiteX24" fmla="*/ 654628 w 744537"/>
                  <a:gd name="connsiteY24" fmla="*/ 616063 h 869951"/>
                  <a:gd name="connsiteX25" fmla="*/ 584000 w 744537"/>
                  <a:gd name="connsiteY25" fmla="*/ 712788 h 869951"/>
                  <a:gd name="connsiteX26" fmla="*/ 554037 w 744537"/>
                  <a:gd name="connsiteY26" fmla="*/ 704907 h 869951"/>
                  <a:gd name="connsiteX27" fmla="*/ 632512 w 744537"/>
                  <a:gd name="connsiteY27" fmla="*/ 593852 h 869951"/>
                  <a:gd name="connsiteX28" fmla="*/ 699573 w 744537"/>
                  <a:gd name="connsiteY28" fmla="*/ 469900 h 869951"/>
                  <a:gd name="connsiteX29" fmla="*/ 415091 w 744537"/>
                  <a:gd name="connsiteY29" fmla="*/ 407988 h 869951"/>
                  <a:gd name="connsiteX30" fmla="*/ 442912 w 744537"/>
                  <a:gd name="connsiteY30" fmla="*/ 422928 h 869951"/>
                  <a:gd name="connsiteX31" fmla="*/ 358022 w 744537"/>
                  <a:gd name="connsiteY31" fmla="*/ 579438 h 869951"/>
                  <a:gd name="connsiteX32" fmla="*/ 330200 w 744537"/>
                  <a:gd name="connsiteY32" fmla="*/ 564499 h 869951"/>
                  <a:gd name="connsiteX33" fmla="*/ 415091 w 744537"/>
                  <a:gd name="connsiteY33" fmla="*/ 407988 h 869951"/>
                  <a:gd name="connsiteX34" fmla="*/ 393500 w 744537"/>
                  <a:gd name="connsiteY34" fmla="*/ 368300 h 869951"/>
                  <a:gd name="connsiteX35" fmla="*/ 406400 w 744537"/>
                  <a:gd name="connsiteY35" fmla="*/ 396860 h 869951"/>
                  <a:gd name="connsiteX36" fmla="*/ 123309 w 744537"/>
                  <a:gd name="connsiteY36" fmla="*/ 517525 h 869951"/>
                  <a:gd name="connsiteX37" fmla="*/ 111125 w 744537"/>
                  <a:gd name="connsiteY37" fmla="*/ 488965 h 869951"/>
                  <a:gd name="connsiteX38" fmla="*/ 393500 w 744537"/>
                  <a:gd name="connsiteY38" fmla="*/ 368300 h 869951"/>
                  <a:gd name="connsiteX39" fmla="*/ 527987 w 744537"/>
                  <a:gd name="connsiteY39" fmla="*/ 355600 h 869951"/>
                  <a:gd name="connsiteX40" fmla="*/ 668337 w 744537"/>
                  <a:gd name="connsiteY40" fmla="*/ 381623 h 869951"/>
                  <a:gd name="connsiteX41" fmla="*/ 662638 w 744537"/>
                  <a:gd name="connsiteY41" fmla="*/ 409053 h 869951"/>
                  <a:gd name="connsiteX42" fmla="*/ 662638 w 744537"/>
                  <a:gd name="connsiteY42" fmla="*/ 411163 h 869951"/>
                  <a:gd name="connsiteX43" fmla="*/ 522287 w 744537"/>
                  <a:gd name="connsiteY43" fmla="*/ 385140 h 869951"/>
                  <a:gd name="connsiteX44" fmla="*/ 527987 w 744537"/>
                  <a:gd name="connsiteY44" fmla="*/ 358413 h 869951"/>
                  <a:gd name="connsiteX45" fmla="*/ 527987 w 744537"/>
                  <a:gd name="connsiteY45" fmla="*/ 355600 h 869951"/>
                  <a:gd name="connsiteX46" fmla="*/ 149469 w 744537"/>
                  <a:gd name="connsiteY46" fmla="*/ 268288 h 869951"/>
                  <a:gd name="connsiteX47" fmla="*/ 179387 w 744537"/>
                  <a:gd name="connsiteY47" fmla="*/ 280386 h 869951"/>
                  <a:gd name="connsiteX48" fmla="*/ 97468 w 744537"/>
                  <a:gd name="connsiteY48" fmla="*/ 474663 h 869951"/>
                  <a:gd name="connsiteX49" fmla="*/ 68262 w 744537"/>
                  <a:gd name="connsiteY49" fmla="*/ 462565 h 869951"/>
                  <a:gd name="connsiteX50" fmla="*/ 149469 w 744537"/>
                  <a:gd name="connsiteY50" fmla="*/ 268288 h 869951"/>
                  <a:gd name="connsiteX51" fmla="*/ 492666 w 744537"/>
                  <a:gd name="connsiteY51" fmla="*/ 111125 h 869951"/>
                  <a:gd name="connsiteX52" fmla="*/ 521747 w 744537"/>
                  <a:gd name="connsiteY52" fmla="*/ 117543 h 869951"/>
                  <a:gd name="connsiteX53" fmla="*/ 523875 w 744537"/>
                  <a:gd name="connsiteY53" fmla="*/ 117543 h 869951"/>
                  <a:gd name="connsiteX54" fmla="*/ 488410 w 744537"/>
                  <a:gd name="connsiteY54" fmla="*/ 293688 h 869951"/>
                  <a:gd name="connsiteX55" fmla="*/ 459328 w 744537"/>
                  <a:gd name="connsiteY55" fmla="*/ 287983 h 869951"/>
                  <a:gd name="connsiteX56" fmla="*/ 457200 w 744537"/>
                  <a:gd name="connsiteY56" fmla="*/ 287983 h 869951"/>
                  <a:gd name="connsiteX57" fmla="*/ 492666 w 744537"/>
                  <a:gd name="connsiteY57" fmla="*/ 111125 h 869951"/>
                  <a:gd name="connsiteX58" fmla="*/ 588027 w 744537"/>
                  <a:gd name="connsiteY58" fmla="*/ 66675 h 869951"/>
                  <a:gd name="connsiteX59" fmla="*/ 744537 w 744537"/>
                  <a:gd name="connsiteY59" fmla="*/ 342184 h 869951"/>
                  <a:gd name="connsiteX60" fmla="*/ 731020 w 744537"/>
                  <a:gd name="connsiteY60" fmla="*/ 340753 h 869951"/>
                  <a:gd name="connsiteX61" fmla="*/ 713947 w 744537"/>
                  <a:gd name="connsiteY61" fmla="*/ 342900 h 869951"/>
                  <a:gd name="connsiteX62" fmla="*/ 573087 w 744537"/>
                  <a:gd name="connsiteY62" fmla="*/ 94584 h 869951"/>
                  <a:gd name="connsiteX63" fmla="*/ 588027 w 744537"/>
                  <a:gd name="connsiteY63" fmla="*/ 66675 h 869951"/>
                  <a:gd name="connsiteX64" fmla="*/ 454758 w 744537"/>
                  <a:gd name="connsiteY64" fmla="*/ 65088 h 869951"/>
                  <a:gd name="connsiteX65" fmla="*/ 468312 w 744537"/>
                  <a:gd name="connsiteY65" fmla="*/ 94516 h 869951"/>
                  <a:gd name="connsiteX66" fmla="*/ 256441 w 744537"/>
                  <a:gd name="connsiteY66" fmla="*/ 200026 h 869951"/>
                  <a:gd name="connsiteX67" fmla="*/ 242887 w 744537"/>
                  <a:gd name="connsiteY67" fmla="*/ 171316 h 869951"/>
                  <a:gd name="connsiteX68" fmla="*/ 454758 w 744537"/>
                  <a:gd name="connsiteY68" fmla="*/ 65088 h 869951"/>
                  <a:gd name="connsiteX69" fmla="*/ 373682 w 744537"/>
                  <a:gd name="connsiteY69" fmla="*/ 0 h 869951"/>
                  <a:gd name="connsiteX70" fmla="*/ 465137 w 744537"/>
                  <a:gd name="connsiteY70" fmla="*/ 10707 h 869951"/>
                  <a:gd name="connsiteX71" fmla="*/ 453705 w 744537"/>
                  <a:gd name="connsiteY71" fmla="*/ 40685 h 869951"/>
                  <a:gd name="connsiteX72" fmla="*/ 373682 w 744537"/>
                  <a:gd name="connsiteY72" fmla="*/ 31406 h 869951"/>
                  <a:gd name="connsiteX73" fmla="*/ 31438 w 744537"/>
                  <a:gd name="connsiteY73" fmla="*/ 371879 h 869951"/>
                  <a:gd name="connsiteX74" fmla="*/ 43584 w 744537"/>
                  <a:gd name="connsiteY74" fmla="*/ 462529 h 869951"/>
                  <a:gd name="connsiteX75" fmla="*/ 15004 w 744537"/>
                  <a:gd name="connsiteY75" fmla="*/ 474663 h 869951"/>
                  <a:gd name="connsiteX76" fmla="*/ 0 w 744537"/>
                  <a:gd name="connsiteY76" fmla="*/ 371879 h 869951"/>
                  <a:gd name="connsiteX77" fmla="*/ 373682 w 744537"/>
                  <a:gd name="connsiteY77" fmla="*/ 0 h 86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44537" h="869951">
                    <a:moveTo>
                      <a:pt x="527050" y="838200"/>
                    </a:moveTo>
                    <a:cubicBezTo>
                      <a:pt x="534106" y="841022"/>
                      <a:pt x="542572" y="842433"/>
                      <a:pt x="551039" y="842433"/>
                    </a:cubicBezTo>
                    <a:cubicBezTo>
                      <a:pt x="553861" y="842433"/>
                      <a:pt x="555978" y="842433"/>
                      <a:pt x="558800" y="841728"/>
                    </a:cubicBezTo>
                    <a:cubicBezTo>
                      <a:pt x="558800" y="841728"/>
                      <a:pt x="558800" y="841728"/>
                      <a:pt x="558800" y="869950"/>
                    </a:cubicBezTo>
                    <a:cubicBezTo>
                      <a:pt x="558800" y="869950"/>
                      <a:pt x="558800" y="869950"/>
                      <a:pt x="527050" y="869950"/>
                    </a:cubicBezTo>
                    <a:cubicBezTo>
                      <a:pt x="527050" y="861483"/>
                      <a:pt x="527050" y="850900"/>
                      <a:pt x="527050" y="838200"/>
                    </a:cubicBezTo>
                    <a:close/>
                    <a:moveTo>
                      <a:pt x="379931" y="654050"/>
                    </a:moveTo>
                    <a:cubicBezTo>
                      <a:pt x="379931" y="654050"/>
                      <a:pt x="379931" y="654050"/>
                      <a:pt x="503237" y="725568"/>
                    </a:cubicBezTo>
                    <a:cubicBezTo>
                      <a:pt x="495397" y="733357"/>
                      <a:pt x="489695" y="741854"/>
                      <a:pt x="486844" y="752475"/>
                    </a:cubicBezTo>
                    <a:cubicBezTo>
                      <a:pt x="486844" y="752475"/>
                      <a:pt x="486844" y="752475"/>
                      <a:pt x="363537" y="680250"/>
                    </a:cubicBezTo>
                    <a:cubicBezTo>
                      <a:pt x="370665" y="672461"/>
                      <a:pt x="376367" y="663255"/>
                      <a:pt x="379931" y="654050"/>
                    </a:cubicBezTo>
                    <a:close/>
                    <a:moveTo>
                      <a:pt x="103785" y="582613"/>
                    </a:moveTo>
                    <a:cubicBezTo>
                      <a:pt x="107321" y="586891"/>
                      <a:pt x="110858" y="591882"/>
                      <a:pt x="115102" y="596873"/>
                    </a:cubicBezTo>
                    <a:cubicBezTo>
                      <a:pt x="125004" y="605429"/>
                      <a:pt x="219075" y="698119"/>
                      <a:pt x="219075" y="807920"/>
                    </a:cubicBezTo>
                    <a:cubicBezTo>
                      <a:pt x="219075" y="807920"/>
                      <a:pt x="219075" y="807920"/>
                      <a:pt x="219075" y="869951"/>
                    </a:cubicBezTo>
                    <a:cubicBezTo>
                      <a:pt x="219075" y="869951"/>
                      <a:pt x="219075" y="869951"/>
                      <a:pt x="187954" y="869951"/>
                    </a:cubicBezTo>
                    <a:cubicBezTo>
                      <a:pt x="187954" y="869951"/>
                      <a:pt x="187954" y="869951"/>
                      <a:pt x="187954" y="807920"/>
                    </a:cubicBezTo>
                    <a:cubicBezTo>
                      <a:pt x="187954" y="708814"/>
                      <a:pt x="94590" y="618976"/>
                      <a:pt x="93175" y="618263"/>
                    </a:cubicBezTo>
                    <a:cubicBezTo>
                      <a:pt x="93175" y="618263"/>
                      <a:pt x="93175" y="618263"/>
                      <a:pt x="92468" y="617550"/>
                    </a:cubicBezTo>
                    <a:cubicBezTo>
                      <a:pt x="86809" y="611133"/>
                      <a:pt x="81151" y="604716"/>
                      <a:pt x="76200" y="597586"/>
                    </a:cubicBezTo>
                    <a:cubicBezTo>
                      <a:pt x="86809" y="594734"/>
                      <a:pt x="96004" y="589743"/>
                      <a:pt x="103785" y="582613"/>
                    </a:cubicBezTo>
                    <a:close/>
                    <a:moveTo>
                      <a:pt x="699573" y="469900"/>
                    </a:moveTo>
                    <a:cubicBezTo>
                      <a:pt x="708847" y="474199"/>
                      <a:pt x="718835" y="477065"/>
                      <a:pt x="730249" y="477065"/>
                    </a:cubicBezTo>
                    <a:cubicBezTo>
                      <a:pt x="715268" y="527935"/>
                      <a:pt x="690298" y="575223"/>
                      <a:pt x="656055" y="614630"/>
                    </a:cubicBezTo>
                    <a:cubicBezTo>
                      <a:pt x="656055" y="614630"/>
                      <a:pt x="656055" y="614630"/>
                      <a:pt x="654628" y="616063"/>
                    </a:cubicBezTo>
                    <a:cubicBezTo>
                      <a:pt x="653914" y="616779"/>
                      <a:pt x="612537" y="656902"/>
                      <a:pt x="584000" y="712788"/>
                    </a:cubicBezTo>
                    <a:cubicBezTo>
                      <a:pt x="574726" y="707773"/>
                      <a:pt x="564738" y="704907"/>
                      <a:pt x="554037" y="704907"/>
                    </a:cubicBezTo>
                    <a:cubicBezTo>
                      <a:pt x="581860" y="644006"/>
                      <a:pt x="626092" y="600300"/>
                      <a:pt x="632512" y="593852"/>
                    </a:cubicBezTo>
                    <a:cubicBezTo>
                      <a:pt x="663902" y="558028"/>
                      <a:pt x="686018" y="515039"/>
                      <a:pt x="699573" y="469900"/>
                    </a:cubicBezTo>
                    <a:close/>
                    <a:moveTo>
                      <a:pt x="415091" y="407988"/>
                    </a:moveTo>
                    <a:cubicBezTo>
                      <a:pt x="422938" y="414391"/>
                      <a:pt x="432212" y="420082"/>
                      <a:pt x="442912" y="422928"/>
                    </a:cubicBezTo>
                    <a:cubicBezTo>
                      <a:pt x="442912" y="422928"/>
                      <a:pt x="442912" y="422928"/>
                      <a:pt x="358022" y="579438"/>
                    </a:cubicBezTo>
                    <a:cubicBezTo>
                      <a:pt x="350175" y="573035"/>
                      <a:pt x="340901" y="567344"/>
                      <a:pt x="330200" y="564499"/>
                    </a:cubicBezTo>
                    <a:cubicBezTo>
                      <a:pt x="330200" y="564499"/>
                      <a:pt x="330200" y="564499"/>
                      <a:pt x="415091" y="407988"/>
                    </a:cubicBezTo>
                    <a:close/>
                    <a:moveTo>
                      <a:pt x="393500" y="368300"/>
                    </a:moveTo>
                    <a:cubicBezTo>
                      <a:pt x="396367" y="379010"/>
                      <a:pt x="400667" y="388292"/>
                      <a:pt x="406400" y="396860"/>
                    </a:cubicBezTo>
                    <a:cubicBezTo>
                      <a:pt x="406400" y="396860"/>
                      <a:pt x="406400" y="396860"/>
                      <a:pt x="123309" y="517525"/>
                    </a:cubicBezTo>
                    <a:cubicBezTo>
                      <a:pt x="121876" y="506815"/>
                      <a:pt x="116859" y="496819"/>
                      <a:pt x="111125" y="488965"/>
                    </a:cubicBezTo>
                    <a:cubicBezTo>
                      <a:pt x="111125" y="488965"/>
                      <a:pt x="111125" y="488965"/>
                      <a:pt x="393500" y="368300"/>
                    </a:cubicBezTo>
                    <a:close/>
                    <a:moveTo>
                      <a:pt x="527987" y="355600"/>
                    </a:moveTo>
                    <a:cubicBezTo>
                      <a:pt x="527987" y="355600"/>
                      <a:pt x="527987" y="355600"/>
                      <a:pt x="668337" y="381623"/>
                    </a:cubicBezTo>
                    <a:cubicBezTo>
                      <a:pt x="664775" y="390063"/>
                      <a:pt x="662638" y="399207"/>
                      <a:pt x="662638" y="409053"/>
                    </a:cubicBezTo>
                    <a:cubicBezTo>
                      <a:pt x="662638" y="409756"/>
                      <a:pt x="662638" y="410460"/>
                      <a:pt x="662638" y="411163"/>
                    </a:cubicBezTo>
                    <a:cubicBezTo>
                      <a:pt x="662638" y="411163"/>
                      <a:pt x="662638" y="411163"/>
                      <a:pt x="522287" y="385140"/>
                    </a:cubicBezTo>
                    <a:cubicBezTo>
                      <a:pt x="525849" y="376700"/>
                      <a:pt x="527987" y="367556"/>
                      <a:pt x="527987" y="358413"/>
                    </a:cubicBezTo>
                    <a:cubicBezTo>
                      <a:pt x="527987" y="357710"/>
                      <a:pt x="527987" y="356303"/>
                      <a:pt x="527987" y="355600"/>
                    </a:cubicBezTo>
                    <a:close/>
                    <a:moveTo>
                      <a:pt x="149469" y="268288"/>
                    </a:moveTo>
                    <a:cubicBezTo>
                      <a:pt x="158017" y="274693"/>
                      <a:pt x="168702" y="278962"/>
                      <a:pt x="179387" y="280386"/>
                    </a:cubicBezTo>
                    <a:cubicBezTo>
                      <a:pt x="179387" y="280386"/>
                      <a:pt x="179387" y="280386"/>
                      <a:pt x="97468" y="474663"/>
                    </a:cubicBezTo>
                    <a:cubicBezTo>
                      <a:pt x="88920" y="468970"/>
                      <a:pt x="78947" y="464700"/>
                      <a:pt x="68262" y="462565"/>
                    </a:cubicBezTo>
                    <a:cubicBezTo>
                      <a:pt x="68262" y="462565"/>
                      <a:pt x="68262" y="462565"/>
                      <a:pt x="149469" y="268288"/>
                    </a:cubicBezTo>
                    <a:close/>
                    <a:moveTo>
                      <a:pt x="492666" y="111125"/>
                    </a:moveTo>
                    <a:cubicBezTo>
                      <a:pt x="501887" y="115404"/>
                      <a:pt x="511817" y="117543"/>
                      <a:pt x="521747" y="117543"/>
                    </a:cubicBezTo>
                    <a:cubicBezTo>
                      <a:pt x="522457" y="117543"/>
                      <a:pt x="523166" y="117543"/>
                      <a:pt x="523875" y="117543"/>
                    </a:cubicBezTo>
                    <a:cubicBezTo>
                      <a:pt x="523875" y="117543"/>
                      <a:pt x="523875" y="117543"/>
                      <a:pt x="488410" y="293688"/>
                    </a:cubicBezTo>
                    <a:cubicBezTo>
                      <a:pt x="479898" y="290835"/>
                      <a:pt x="470677" y="287983"/>
                      <a:pt x="459328" y="287983"/>
                    </a:cubicBezTo>
                    <a:cubicBezTo>
                      <a:pt x="458619" y="287983"/>
                      <a:pt x="457910" y="287983"/>
                      <a:pt x="457200" y="287983"/>
                    </a:cubicBezTo>
                    <a:cubicBezTo>
                      <a:pt x="457200" y="287983"/>
                      <a:pt x="457200" y="287983"/>
                      <a:pt x="492666" y="111125"/>
                    </a:cubicBezTo>
                    <a:close/>
                    <a:moveTo>
                      <a:pt x="588027" y="66675"/>
                    </a:moveTo>
                    <a:cubicBezTo>
                      <a:pt x="675530" y="128933"/>
                      <a:pt x="735289" y="228402"/>
                      <a:pt x="744537" y="342184"/>
                    </a:cubicBezTo>
                    <a:cubicBezTo>
                      <a:pt x="739557" y="341469"/>
                      <a:pt x="735289" y="340753"/>
                      <a:pt x="731020" y="340753"/>
                    </a:cubicBezTo>
                    <a:cubicBezTo>
                      <a:pt x="724618" y="340753"/>
                      <a:pt x="718215" y="341469"/>
                      <a:pt x="713947" y="342900"/>
                    </a:cubicBezTo>
                    <a:cubicBezTo>
                      <a:pt x="704698" y="240568"/>
                      <a:pt x="650631" y="151117"/>
                      <a:pt x="573087" y="94584"/>
                    </a:cubicBezTo>
                    <a:cubicBezTo>
                      <a:pt x="579490" y="85996"/>
                      <a:pt x="585181" y="75978"/>
                      <a:pt x="588027" y="66675"/>
                    </a:cubicBezTo>
                    <a:close/>
                    <a:moveTo>
                      <a:pt x="454758" y="65088"/>
                    </a:moveTo>
                    <a:cubicBezTo>
                      <a:pt x="456898" y="75854"/>
                      <a:pt x="461892" y="86621"/>
                      <a:pt x="468312" y="94516"/>
                    </a:cubicBezTo>
                    <a:cubicBezTo>
                      <a:pt x="468312" y="94516"/>
                      <a:pt x="468312" y="94516"/>
                      <a:pt x="256441" y="200026"/>
                    </a:cubicBezTo>
                    <a:cubicBezTo>
                      <a:pt x="254301" y="189260"/>
                      <a:pt x="249308" y="179211"/>
                      <a:pt x="242887" y="171316"/>
                    </a:cubicBezTo>
                    <a:cubicBezTo>
                      <a:pt x="242887" y="171316"/>
                      <a:pt x="242887" y="171316"/>
                      <a:pt x="454758" y="65088"/>
                    </a:cubicBezTo>
                    <a:close/>
                    <a:moveTo>
                      <a:pt x="373682" y="0"/>
                    </a:moveTo>
                    <a:cubicBezTo>
                      <a:pt x="405834" y="0"/>
                      <a:pt x="435843" y="3569"/>
                      <a:pt x="465137" y="10707"/>
                    </a:cubicBezTo>
                    <a:cubicBezTo>
                      <a:pt x="458707" y="19272"/>
                      <a:pt x="455134" y="29265"/>
                      <a:pt x="453705" y="40685"/>
                    </a:cubicBezTo>
                    <a:cubicBezTo>
                      <a:pt x="427983" y="34261"/>
                      <a:pt x="401547" y="31406"/>
                      <a:pt x="373682" y="31406"/>
                    </a:cubicBezTo>
                    <a:cubicBezTo>
                      <a:pt x="185769" y="31406"/>
                      <a:pt x="31438" y="184155"/>
                      <a:pt x="31438" y="371879"/>
                    </a:cubicBezTo>
                    <a:cubicBezTo>
                      <a:pt x="31438" y="402571"/>
                      <a:pt x="35725" y="433264"/>
                      <a:pt x="43584" y="462529"/>
                    </a:cubicBezTo>
                    <a:cubicBezTo>
                      <a:pt x="32867" y="463956"/>
                      <a:pt x="23578" y="468953"/>
                      <a:pt x="15004" y="474663"/>
                    </a:cubicBezTo>
                    <a:cubicBezTo>
                      <a:pt x="5001" y="441829"/>
                      <a:pt x="0" y="406854"/>
                      <a:pt x="0" y="371879"/>
                    </a:cubicBezTo>
                    <a:cubicBezTo>
                      <a:pt x="0" y="167024"/>
                      <a:pt x="167907" y="0"/>
                      <a:pt x="373682" y="0"/>
                    </a:cubicBez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7" name="Freeform 11">
                <a:extLst>
                  <a:ext uri="{FF2B5EF4-FFF2-40B4-BE49-F238E27FC236}">
                    <a16:creationId xmlns:a16="http://schemas.microsoft.com/office/drawing/2014/main" id="{7D4CB2AD-8027-4F32-B409-571AF7949D65}"/>
                  </a:ext>
                </a:extLst>
              </p:cNvPr>
              <p:cNvSpPr>
                <a:spLocks/>
              </p:cNvSpPr>
              <p:nvPr/>
            </p:nvSpPr>
            <p:spPr bwMode="auto">
              <a:xfrm>
                <a:off x="5741987" y="2811463"/>
                <a:ext cx="746124" cy="1241425"/>
              </a:xfrm>
              <a:custGeom>
                <a:avLst/>
                <a:gdLst>
                  <a:gd name="connsiteX0" fmla="*/ 222250 w 746124"/>
                  <a:gd name="connsiteY0" fmla="*/ 1169987 h 1241425"/>
                  <a:gd name="connsiteX1" fmla="*/ 222250 w 746124"/>
                  <a:gd name="connsiteY1" fmla="*/ 1187911 h 1241425"/>
                  <a:gd name="connsiteX2" fmla="*/ 351434 w 746124"/>
                  <a:gd name="connsiteY2" fmla="*/ 1208702 h 1241425"/>
                  <a:gd name="connsiteX3" fmla="*/ 354289 w 746124"/>
                  <a:gd name="connsiteY3" fmla="*/ 1208702 h 1241425"/>
                  <a:gd name="connsiteX4" fmla="*/ 484187 w 746124"/>
                  <a:gd name="connsiteY4" fmla="*/ 1187911 h 1241425"/>
                  <a:gd name="connsiteX5" fmla="*/ 484187 w 746124"/>
                  <a:gd name="connsiteY5" fmla="*/ 1169987 h 1241425"/>
                  <a:gd name="connsiteX6" fmla="*/ 222250 w 746124"/>
                  <a:gd name="connsiteY6" fmla="*/ 1169987 h 1241425"/>
                  <a:gd name="connsiteX7" fmla="*/ 153987 w 746124"/>
                  <a:gd name="connsiteY7" fmla="*/ 1089025 h 1241425"/>
                  <a:gd name="connsiteX8" fmla="*/ 153987 w 746124"/>
                  <a:gd name="connsiteY8" fmla="*/ 1138238 h 1241425"/>
                  <a:gd name="connsiteX9" fmla="*/ 552449 w 746124"/>
                  <a:gd name="connsiteY9" fmla="*/ 1138238 h 1241425"/>
                  <a:gd name="connsiteX10" fmla="*/ 552449 w 746124"/>
                  <a:gd name="connsiteY10" fmla="*/ 1089025 h 1241425"/>
                  <a:gd name="connsiteX11" fmla="*/ 153987 w 746124"/>
                  <a:gd name="connsiteY11" fmla="*/ 1089025 h 1241425"/>
                  <a:gd name="connsiteX12" fmla="*/ 153987 w 746124"/>
                  <a:gd name="connsiteY12" fmla="*/ 1011237 h 1241425"/>
                  <a:gd name="connsiteX13" fmla="*/ 153987 w 746124"/>
                  <a:gd name="connsiteY13" fmla="*/ 1057275 h 1241425"/>
                  <a:gd name="connsiteX14" fmla="*/ 552449 w 746124"/>
                  <a:gd name="connsiteY14" fmla="*/ 1057275 h 1241425"/>
                  <a:gd name="connsiteX15" fmla="*/ 552449 w 746124"/>
                  <a:gd name="connsiteY15" fmla="*/ 1011237 h 1241425"/>
                  <a:gd name="connsiteX16" fmla="*/ 153987 w 746124"/>
                  <a:gd name="connsiteY16" fmla="*/ 1011237 h 1241425"/>
                  <a:gd name="connsiteX17" fmla="*/ 153987 w 746124"/>
                  <a:gd name="connsiteY17" fmla="*/ 919162 h 1241425"/>
                  <a:gd name="connsiteX18" fmla="*/ 153987 w 746124"/>
                  <a:gd name="connsiteY18" fmla="*/ 979487 h 1241425"/>
                  <a:gd name="connsiteX19" fmla="*/ 552449 w 746124"/>
                  <a:gd name="connsiteY19" fmla="*/ 979487 h 1241425"/>
                  <a:gd name="connsiteX20" fmla="*/ 552449 w 746124"/>
                  <a:gd name="connsiteY20" fmla="*/ 919162 h 1241425"/>
                  <a:gd name="connsiteX21" fmla="*/ 153987 w 746124"/>
                  <a:gd name="connsiteY21" fmla="*/ 919162 h 1241425"/>
                  <a:gd name="connsiteX22" fmla="*/ 154469 w 746124"/>
                  <a:gd name="connsiteY22" fmla="*/ 887412 h 1241425"/>
                  <a:gd name="connsiteX23" fmla="*/ 168010 w 746124"/>
                  <a:gd name="connsiteY23" fmla="*/ 887412 h 1241425"/>
                  <a:gd name="connsiteX24" fmla="*/ 199367 w 746124"/>
                  <a:gd name="connsiteY24" fmla="*/ 887412 h 1241425"/>
                  <a:gd name="connsiteX25" fmla="*/ 505808 w 746124"/>
                  <a:gd name="connsiteY25" fmla="*/ 887412 h 1241425"/>
                  <a:gd name="connsiteX26" fmla="*/ 537165 w 746124"/>
                  <a:gd name="connsiteY26" fmla="*/ 887412 h 1241425"/>
                  <a:gd name="connsiteX27" fmla="*/ 553556 w 746124"/>
                  <a:gd name="connsiteY27" fmla="*/ 887412 h 1241425"/>
                  <a:gd name="connsiteX28" fmla="*/ 584200 w 746124"/>
                  <a:gd name="connsiteY28" fmla="*/ 917450 h 1241425"/>
                  <a:gd name="connsiteX29" fmla="*/ 584200 w 746124"/>
                  <a:gd name="connsiteY29" fmla="*/ 980385 h 1241425"/>
                  <a:gd name="connsiteX30" fmla="*/ 580637 w 746124"/>
                  <a:gd name="connsiteY30" fmla="*/ 995404 h 1241425"/>
                  <a:gd name="connsiteX31" fmla="*/ 584200 w 746124"/>
                  <a:gd name="connsiteY31" fmla="*/ 1010423 h 1241425"/>
                  <a:gd name="connsiteX32" fmla="*/ 584200 w 746124"/>
                  <a:gd name="connsiteY32" fmla="*/ 1059055 h 1241425"/>
                  <a:gd name="connsiteX33" fmla="*/ 580637 w 746124"/>
                  <a:gd name="connsiteY33" fmla="*/ 1074074 h 1241425"/>
                  <a:gd name="connsiteX34" fmla="*/ 584200 w 746124"/>
                  <a:gd name="connsiteY34" fmla="*/ 1089092 h 1241425"/>
                  <a:gd name="connsiteX35" fmla="*/ 584200 w 746124"/>
                  <a:gd name="connsiteY35" fmla="*/ 1139870 h 1241425"/>
                  <a:gd name="connsiteX36" fmla="*/ 553556 w 746124"/>
                  <a:gd name="connsiteY36" fmla="*/ 1170623 h 1241425"/>
                  <a:gd name="connsiteX37" fmla="*/ 515073 w 746124"/>
                  <a:gd name="connsiteY37" fmla="*/ 1170623 h 1241425"/>
                  <a:gd name="connsiteX38" fmla="*/ 515073 w 746124"/>
                  <a:gd name="connsiteY38" fmla="*/ 1198514 h 1241425"/>
                  <a:gd name="connsiteX39" fmla="*/ 505808 w 746124"/>
                  <a:gd name="connsiteY39" fmla="*/ 1212818 h 1241425"/>
                  <a:gd name="connsiteX40" fmla="*/ 370404 w 746124"/>
                  <a:gd name="connsiteY40" fmla="*/ 1241425 h 1241425"/>
                  <a:gd name="connsiteX41" fmla="*/ 352587 w 746124"/>
                  <a:gd name="connsiteY41" fmla="*/ 1240710 h 1241425"/>
                  <a:gd name="connsiteX42" fmla="*/ 334771 w 746124"/>
                  <a:gd name="connsiteY42" fmla="*/ 1241425 h 1241425"/>
                  <a:gd name="connsiteX43" fmla="*/ 200079 w 746124"/>
                  <a:gd name="connsiteY43" fmla="*/ 1212818 h 1241425"/>
                  <a:gd name="connsiteX44" fmla="*/ 190815 w 746124"/>
                  <a:gd name="connsiteY44" fmla="*/ 1198514 h 1241425"/>
                  <a:gd name="connsiteX45" fmla="*/ 190815 w 746124"/>
                  <a:gd name="connsiteY45" fmla="*/ 1170623 h 1241425"/>
                  <a:gd name="connsiteX46" fmla="*/ 154469 w 746124"/>
                  <a:gd name="connsiteY46" fmla="*/ 1170623 h 1241425"/>
                  <a:gd name="connsiteX47" fmla="*/ 123825 w 746124"/>
                  <a:gd name="connsiteY47" fmla="*/ 1139870 h 1241425"/>
                  <a:gd name="connsiteX48" fmla="*/ 123825 w 746124"/>
                  <a:gd name="connsiteY48" fmla="*/ 1089092 h 1241425"/>
                  <a:gd name="connsiteX49" fmla="*/ 128101 w 746124"/>
                  <a:gd name="connsiteY49" fmla="*/ 1074074 h 1241425"/>
                  <a:gd name="connsiteX50" fmla="*/ 123825 w 746124"/>
                  <a:gd name="connsiteY50" fmla="*/ 1059055 h 1241425"/>
                  <a:gd name="connsiteX51" fmla="*/ 123825 w 746124"/>
                  <a:gd name="connsiteY51" fmla="*/ 1010423 h 1241425"/>
                  <a:gd name="connsiteX52" fmla="*/ 128101 w 746124"/>
                  <a:gd name="connsiteY52" fmla="*/ 995404 h 1241425"/>
                  <a:gd name="connsiteX53" fmla="*/ 123825 w 746124"/>
                  <a:gd name="connsiteY53" fmla="*/ 980385 h 1241425"/>
                  <a:gd name="connsiteX54" fmla="*/ 123825 w 746124"/>
                  <a:gd name="connsiteY54" fmla="*/ 917450 h 1241425"/>
                  <a:gd name="connsiteX55" fmla="*/ 154469 w 746124"/>
                  <a:gd name="connsiteY55" fmla="*/ 887412 h 1241425"/>
                  <a:gd name="connsiteX56" fmla="*/ 530225 w 746124"/>
                  <a:gd name="connsiteY56" fmla="*/ 722312 h 1241425"/>
                  <a:gd name="connsiteX57" fmla="*/ 568325 w 746124"/>
                  <a:gd name="connsiteY57" fmla="*/ 759619 h 1241425"/>
                  <a:gd name="connsiteX58" fmla="*/ 530225 w 746124"/>
                  <a:gd name="connsiteY58" fmla="*/ 796926 h 1241425"/>
                  <a:gd name="connsiteX59" fmla="*/ 492125 w 746124"/>
                  <a:gd name="connsiteY59" fmla="*/ 759619 h 1241425"/>
                  <a:gd name="connsiteX60" fmla="*/ 530225 w 746124"/>
                  <a:gd name="connsiteY60" fmla="*/ 722312 h 1241425"/>
                  <a:gd name="connsiteX61" fmla="*/ 289718 w 746124"/>
                  <a:gd name="connsiteY61" fmla="*/ 579437 h 1241425"/>
                  <a:gd name="connsiteX62" fmla="*/ 327024 w 746124"/>
                  <a:gd name="connsiteY62" fmla="*/ 616744 h 1241425"/>
                  <a:gd name="connsiteX63" fmla="*/ 289718 w 746124"/>
                  <a:gd name="connsiteY63" fmla="*/ 654051 h 1241425"/>
                  <a:gd name="connsiteX64" fmla="*/ 252412 w 746124"/>
                  <a:gd name="connsiteY64" fmla="*/ 616744 h 1241425"/>
                  <a:gd name="connsiteX65" fmla="*/ 289718 w 746124"/>
                  <a:gd name="connsiteY65" fmla="*/ 579437 h 1241425"/>
                  <a:gd name="connsiteX66" fmla="*/ 36513 w 746124"/>
                  <a:gd name="connsiteY66" fmla="*/ 477837 h 1241425"/>
                  <a:gd name="connsiteX67" fmla="*/ 73026 w 746124"/>
                  <a:gd name="connsiteY67" fmla="*/ 515144 h 1241425"/>
                  <a:gd name="connsiteX68" fmla="*/ 36513 w 746124"/>
                  <a:gd name="connsiteY68" fmla="*/ 552451 h 1241425"/>
                  <a:gd name="connsiteX69" fmla="*/ 0 w 746124"/>
                  <a:gd name="connsiteY69" fmla="*/ 515144 h 1241425"/>
                  <a:gd name="connsiteX70" fmla="*/ 36513 w 746124"/>
                  <a:gd name="connsiteY70" fmla="*/ 477837 h 1241425"/>
                  <a:gd name="connsiteX71" fmla="*/ 708818 w 746124"/>
                  <a:gd name="connsiteY71" fmla="*/ 357187 h 1241425"/>
                  <a:gd name="connsiteX72" fmla="*/ 746124 w 746124"/>
                  <a:gd name="connsiteY72" fmla="*/ 394494 h 1241425"/>
                  <a:gd name="connsiteX73" fmla="*/ 708818 w 746124"/>
                  <a:gd name="connsiteY73" fmla="*/ 431801 h 1241425"/>
                  <a:gd name="connsiteX74" fmla="*/ 671512 w 746124"/>
                  <a:gd name="connsiteY74" fmla="*/ 394494 h 1241425"/>
                  <a:gd name="connsiteX75" fmla="*/ 708818 w 746124"/>
                  <a:gd name="connsiteY75" fmla="*/ 357187 h 1241425"/>
                  <a:gd name="connsiteX76" fmla="*/ 437001 w 746124"/>
                  <a:gd name="connsiteY76" fmla="*/ 306387 h 1241425"/>
                  <a:gd name="connsiteX77" fmla="*/ 474662 w 746124"/>
                  <a:gd name="connsiteY77" fmla="*/ 342899 h 1241425"/>
                  <a:gd name="connsiteX78" fmla="*/ 437001 w 746124"/>
                  <a:gd name="connsiteY78" fmla="*/ 379412 h 1241425"/>
                  <a:gd name="connsiteX79" fmla="*/ 400050 w 746124"/>
                  <a:gd name="connsiteY79" fmla="*/ 342899 h 1241425"/>
                  <a:gd name="connsiteX80" fmla="*/ 437001 w 746124"/>
                  <a:gd name="connsiteY80" fmla="*/ 306387 h 1241425"/>
                  <a:gd name="connsiteX81" fmla="*/ 168275 w 746124"/>
                  <a:gd name="connsiteY81" fmla="*/ 161925 h 1241425"/>
                  <a:gd name="connsiteX82" fmla="*/ 204787 w 746124"/>
                  <a:gd name="connsiteY82" fmla="*/ 198083 h 1241425"/>
                  <a:gd name="connsiteX83" fmla="*/ 168275 w 746124"/>
                  <a:gd name="connsiteY83" fmla="*/ 234950 h 1241425"/>
                  <a:gd name="connsiteX84" fmla="*/ 131762 w 746124"/>
                  <a:gd name="connsiteY84" fmla="*/ 198083 h 1241425"/>
                  <a:gd name="connsiteX85" fmla="*/ 168275 w 746124"/>
                  <a:gd name="connsiteY85" fmla="*/ 161925 h 1241425"/>
                  <a:gd name="connsiteX86" fmla="*/ 500063 w 746124"/>
                  <a:gd name="connsiteY86" fmla="*/ 0 h 1241425"/>
                  <a:gd name="connsiteX87" fmla="*/ 536576 w 746124"/>
                  <a:gd name="connsiteY87" fmla="*/ 36513 h 1241425"/>
                  <a:gd name="connsiteX88" fmla="*/ 500063 w 746124"/>
                  <a:gd name="connsiteY88" fmla="*/ 73026 h 1241425"/>
                  <a:gd name="connsiteX89" fmla="*/ 463550 w 746124"/>
                  <a:gd name="connsiteY89" fmla="*/ 36513 h 1241425"/>
                  <a:gd name="connsiteX90" fmla="*/ 500063 w 746124"/>
                  <a:gd name="connsiteY90" fmla="*/ 0 h 124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6124" h="1241425">
                    <a:moveTo>
                      <a:pt x="222250" y="1169987"/>
                    </a:moveTo>
                    <a:cubicBezTo>
                      <a:pt x="222250" y="1169987"/>
                      <a:pt x="222250" y="1169987"/>
                      <a:pt x="222250" y="1187911"/>
                    </a:cubicBezTo>
                    <a:cubicBezTo>
                      <a:pt x="289340" y="1214437"/>
                      <a:pt x="350721" y="1208702"/>
                      <a:pt x="351434" y="1208702"/>
                    </a:cubicBezTo>
                    <a:cubicBezTo>
                      <a:pt x="352148" y="1208702"/>
                      <a:pt x="353576" y="1208702"/>
                      <a:pt x="354289" y="1208702"/>
                    </a:cubicBezTo>
                    <a:cubicBezTo>
                      <a:pt x="355003" y="1208702"/>
                      <a:pt x="416383" y="1214437"/>
                      <a:pt x="484187" y="1187911"/>
                    </a:cubicBezTo>
                    <a:cubicBezTo>
                      <a:pt x="484187" y="1187911"/>
                      <a:pt x="484187" y="1187911"/>
                      <a:pt x="484187" y="1169987"/>
                    </a:cubicBezTo>
                    <a:cubicBezTo>
                      <a:pt x="484187" y="1169987"/>
                      <a:pt x="484187" y="1169987"/>
                      <a:pt x="222250" y="1169987"/>
                    </a:cubicBezTo>
                    <a:close/>
                    <a:moveTo>
                      <a:pt x="153987" y="1089025"/>
                    </a:moveTo>
                    <a:cubicBezTo>
                      <a:pt x="153987" y="1089025"/>
                      <a:pt x="153987" y="1089025"/>
                      <a:pt x="153987" y="1138238"/>
                    </a:cubicBezTo>
                    <a:cubicBezTo>
                      <a:pt x="153987" y="1138238"/>
                      <a:pt x="153987" y="1138238"/>
                      <a:pt x="552449" y="1138238"/>
                    </a:cubicBezTo>
                    <a:cubicBezTo>
                      <a:pt x="552449" y="1138238"/>
                      <a:pt x="552449" y="1138238"/>
                      <a:pt x="552449" y="1089025"/>
                    </a:cubicBezTo>
                    <a:cubicBezTo>
                      <a:pt x="552449" y="1089025"/>
                      <a:pt x="552449" y="1089025"/>
                      <a:pt x="153987" y="1089025"/>
                    </a:cubicBezTo>
                    <a:close/>
                    <a:moveTo>
                      <a:pt x="153987" y="1011237"/>
                    </a:moveTo>
                    <a:cubicBezTo>
                      <a:pt x="153987" y="1011237"/>
                      <a:pt x="153987" y="1011237"/>
                      <a:pt x="153987" y="1057275"/>
                    </a:cubicBezTo>
                    <a:cubicBezTo>
                      <a:pt x="153987" y="1057275"/>
                      <a:pt x="153987" y="1057275"/>
                      <a:pt x="552449" y="1057275"/>
                    </a:cubicBezTo>
                    <a:cubicBezTo>
                      <a:pt x="552449" y="1057275"/>
                      <a:pt x="552449" y="1057275"/>
                      <a:pt x="552449" y="1011237"/>
                    </a:cubicBezTo>
                    <a:cubicBezTo>
                      <a:pt x="552449" y="1011237"/>
                      <a:pt x="552449" y="1011237"/>
                      <a:pt x="153987" y="1011237"/>
                    </a:cubicBezTo>
                    <a:close/>
                    <a:moveTo>
                      <a:pt x="153987" y="919162"/>
                    </a:moveTo>
                    <a:cubicBezTo>
                      <a:pt x="153987" y="919162"/>
                      <a:pt x="153987" y="919162"/>
                      <a:pt x="153987" y="979487"/>
                    </a:cubicBezTo>
                    <a:cubicBezTo>
                      <a:pt x="153987" y="979487"/>
                      <a:pt x="153987" y="979487"/>
                      <a:pt x="552449" y="979487"/>
                    </a:cubicBezTo>
                    <a:cubicBezTo>
                      <a:pt x="552449" y="979487"/>
                      <a:pt x="552449" y="979487"/>
                      <a:pt x="552449" y="919162"/>
                    </a:cubicBezTo>
                    <a:cubicBezTo>
                      <a:pt x="552449" y="919162"/>
                      <a:pt x="552449" y="919162"/>
                      <a:pt x="153987" y="919162"/>
                    </a:cubicBezTo>
                    <a:close/>
                    <a:moveTo>
                      <a:pt x="154469" y="887412"/>
                    </a:moveTo>
                    <a:cubicBezTo>
                      <a:pt x="154469" y="887412"/>
                      <a:pt x="154469" y="887412"/>
                      <a:pt x="168010" y="887412"/>
                    </a:cubicBezTo>
                    <a:cubicBezTo>
                      <a:pt x="174424" y="887412"/>
                      <a:pt x="184401" y="887412"/>
                      <a:pt x="199367" y="887412"/>
                    </a:cubicBezTo>
                    <a:cubicBezTo>
                      <a:pt x="243551" y="887412"/>
                      <a:pt x="331208" y="887412"/>
                      <a:pt x="505808" y="887412"/>
                    </a:cubicBezTo>
                    <a:cubicBezTo>
                      <a:pt x="515785" y="887412"/>
                      <a:pt x="525763" y="887412"/>
                      <a:pt x="537165" y="887412"/>
                    </a:cubicBezTo>
                    <a:cubicBezTo>
                      <a:pt x="542154" y="887412"/>
                      <a:pt x="547855" y="887412"/>
                      <a:pt x="553556" y="887412"/>
                    </a:cubicBezTo>
                    <a:cubicBezTo>
                      <a:pt x="570660" y="887412"/>
                      <a:pt x="584200" y="900285"/>
                      <a:pt x="584200" y="917450"/>
                    </a:cubicBezTo>
                    <a:cubicBezTo>
                      <a:pt x="584200" y="917450"/>
                      <a:pt x="584200" y="917450"/>
                      <a:pt x="584200" y="980385"/>
                    </a:cubicBezTo>
                    <a:cubicBezTo>
                      <a:pt x="584200" y="986107"/>
                      <a:pt x="582775" y="991113"/>
                      <a:pt x="580637" y="995404"/>
                    </a:cubicBezTo>
                    <a:cubicBezTo>
                      <a:pt x="582775" y="999695"/>
                      <a:pt x="584200" y="1004701"/>
                      <a:pt x="584200" y="1010423"/>
                    </a:cubicBezTo>
                    <a:cubicBezTo>
                      <a:pt x="584200" y="1010423"/>
                      <a:pt x="584200" y="1010423"/>
                      <a:pt x="584200" y="1059055"/>
                    </a:cubicBezTo>
                    <a:cubicBezTo>
                      <a:pt x="584200" y="1064061"/>
                      <a:pt x="582775" y="1069067"/>
                      <a:pt x="580637" y="1074074"/>
                    </a:cubicBezTo>
                    <a:cubicBezTo>
                      <a:pt x="582775" y="1078365"/>
                      <a:pt x="584200" y="1083371"/>
                      <a:pt x="584200" y="1089092"/>
                    </a:cubicBezTo>
                    <a:cubicBezTo>
                      <a:pt x="584200" y="1089092"/>
                      <a:pt x="584200" y="1089092"/>
                      <a:pt x="584200" y="1139870"/>
                    </a:cubicBezTo>
                    <a:cubicBezTo>
                      <a:pt x="584200" y="1157034"/>
                      <a:pt x="570660" y="1170623"/>
                      <a:pt x="553556" y="1170623"/>
                    </a:cubicBezTo>
                    <a:cubicBezTo>
                      <a:pt x="553556" y="1170623"/>
                      <a:pt x="553556" y="1170623"/>
                      <a:pt x="515073" y="1170623"/>
                    </a:cubicBezTo>
                    <a:cubicBezTo>
                      <a:pt x="515073" y="1170623"/>
                      <a:pt x="515073" y="1170623"/>
                      <a:pt x="515073" y="1198514"/>
                    </a:cubicBezTo>
                    <a:cubicBezTo>
                      <a:pt x="515073" y="1204951"/>
                      <a:pt x="511509" y="1210672"/>
                      <a:pt x="505808" y="1212818"/>
                    </a:cubicBezTo>
                    <a:cubicBezTo>
                      <a:pt x="450221" y="1237849"/>
                      <a:pt x="397485" y="1241425"/>
                      <a:pt x="370404" y="1241425"/>
                    </a:cubicBezTo>
                    <a:cubicBezTo>
                      <a:pt x="361852" y="1241425"/>
                      <a:pt x="355438" y="1241425"/>
                      <a:pt x="352587" y="1240710"/>
                    </a:cubicBezTo>
                    <a:cubicBezTo>
                      <a:pt x="349737" y="1240710"/>
                      <a:pt x="343323" y="1241425"/>
                      <a:pt x="334771" y="1241425"/>
                    </a:cubicBezTo>
                    <a:cubicBezTo>
                      <a:pt x="307690" y="1241425"/>
                      <a:pt x="254954" y="1237849"/>
                      <a:pt x="200079" y="1212818"/>
                    </a:cubicBezTo>
                    <a:cubicBezTo>
                      <a:pt x="194378" y="1210672"/>
                      <a:pt x="190815" y="1204951"/>
                      <a:pt x="190815" y="1198514"/>
                    </a:cubicBezTo>
                    <a:cubicBezTo>
                      <a:pt x="190815" y="1198514"/>
                      <a:pt x="190815" y="1198514"/>
                      <a:pt x="190815" y="1170623"/>
                    </a:cubicBezTo>
                    <a:cubicBezTo>
                      <a:pt x="190815" y="1170623"/>
                      <a:pt x="190815" y="1170623"/>
                      <a:pt x="154469" y="1170623"/>
                    </a:cubicBezTo>
                    <a:cubicBezTo>
                      <a:pt x="137366" y="1170623"/>
                      <a:pt x="123825" y="1157034"/>
                      <a:pt x="123825" y="1139870"/>
                    </a:cubicBezTo>
                    <a:cubicBezTo>
                      <a:pt x="123825" y="1139870"/>
                      <a:pt x="123825" y="1139870"/>
                      <a:pt x="123825" y="1089092"/>
                    </a:cubicBezTo>
                    <a:cubicBezTo>
                      <a:pt x="123825" y="1083371"/>
                      <a:pt x="125251" y="1078365"/>
                      <a:pt x="128101" y="1074074"/>
                    </a:cubicBezTo>
                    <a:cubicBezTo>
                      <a:pt x="125251" y="1069067"/>
                      <a:pt x="123825" y="1064061"/>
                      <a:pt x="123825" y="1059055"/>
                    </a:cubicBezTo>
                    <a:cubicBezTo>
                      <a:pt x="123825" y="1059055"/>
                      <a:pt x="123825" y="1059055"/>
                      <a:pt x="123825" y="1010423"/>
                    </a:cubicBezTo>
                    <a:cubicBezTo>
                      <a:pt x="123825" y="1004701"/>
                      <a:pt x="125251" y="999695"/>
                      <a:pt x="128101" y="995404"/>
                    </a:cubicBezTo>
                    <a:cubicBezTo>
                      <a:pt x="125251" y="991113"/>
                      <a:pt x="123825" y="986107"/>
                      <a:pt x="123825" y="980385"/>
                    </a:cubicBezTo>
                    <a:cubicBezTo>
                      <a:pt x="123825" y="980385"/>
                      <a:pt x="123825" y="980385"/>
                      <a:pt x="123825" y="917450"/>
                    </a:cubicBezTo>
                    <a:cubicBezTo>
                      <a:pt x="123825" y="900285"/>
                      <a:pt x="137366" y="887412"/>
                      <a:pt x="154469" y="887412"/>
                    </a:cubicBezTo>
                    <a:close/>
                    <a:moveTo>
                      <a:pt x="530225" y="722312"/>
                    </a:moveTo>
                    <a:cubicBezTo>
                      <a:pt x="551267" y="722312"/>
                      <a:pt x="568325" y="739015"/>
                      <a:pt x="568325" y="759619"/>
                    </a:cubicBezTo>
                    <a:cubicBezTo>
                      <a:pt x="568325" y="780223"/>
                      <a:pt x="551267" y="796926"/>
                      <a:pt x="530225" y="796926"/>
                    </a:cubicBezTo>
                    <a:cubicBezTo>
                      <a:pt x="509183" y="796926"/>
                      <a:pt x="492125" y="780223"/>
                      <a:pt x="492125" y="759619"/>
                    </a:cubicBezTo>
                    <a:cubicBezTo>
                      <a:pt x="492125" y="739015"/>
                      <a:pt x="509183" y="722312"/>
                      <a:pt x="530225" y="722312"/>
                    </a:cubicBezTo>
                    <a:close/>
                    <a:moveTo>
                      <a:pt x="289718" y="579437"/>
                    </a:moveTo>
                    <a:cubicBezTo>
                      <a:pt x="310322" y="579437"/>
                      <a:pt x="327024" y="596140"/>
                      <a:pt x="327024" y="616744"/>
                    </a:cubicBezTo>
                    <a:cubicBezTo>
                      <a:pt x="327024" y="637348"/>
                      <a:pt x="310322" y="654051"/>
                      <a:pt x="289718" y="654051"/>
                    </a:cubicBezTo>
                    <a:cubicBezTo>
                      <a:pt x="269114" y="654051"/>
                      <a:pt x="252412" y="637348"/>
                      <a:pt x="252412" y="616744"/>
                    </a:cubicBezTo>
                    <a:cubicBezTo>
                      <a:pt x="252412" y="596140"/>
                      <a:pt x="269114" y="579437"/>
                      <a:pt x="289718" y="579437"/>
                    </a:cubicBezTo>
                    <a:close/>
                    <a:moveTo>
                      <a:pt x="36513" y="477837"/>
                    </a:moveTo>
                    <a:cubicBezTo>
                      <a:pt x="56679" y="477837"/>
                      <a:pt x="73026" y="494540"/>
                      <a:pt x="73026" y="515144"/>
                    </a:cubicBezTo>
                    <a:cubicBezTo>
                      <a:pt x="73026" y="535748"/>
                      <a:pt x="56679" y="552451"/>
                      <a:pt x="36513" y="552451"/>
                    </a:cubicBezTo>
                    <a:cubicBezTo>
                      <a:pt x="16347" y="552451"/>
                      <a:pt x="0" y="535748"/>
                      <a:pt x="0" y="515144"/>
                    </a:cubicBezTo>
                    <a:cubicBezTo>
                      <a:pt x="0" y="494540"/>
                      <a:pt x="16347" y="477837"/>
                      <a:pt x="36513" y="477837"/>
                    </a:cubicBezTo>
                    <a:close/>
                    <a:moveTo>
                      <a:pt x="708818" y="357187"/>
                    </a:moveTo>
                    <a:cubicBezTo>
                      <a:pt x="729422" y="357187"/>
                      <a:pt x="746124" y="373890"/>
                      <a:pt x="746124" y="394494"/>
                    </a:cubicBezTo>
                    <a:cubicBezTo>
                      <a:pt x="746124" y="415098"/>
                      <a:pt x="729422" y="431801"/>
                      <a:pt x="708818" y="431801"/>
                    </a:cubicBezTo>
                    <a:cubicBezTo>
                      <a:pt x="688214" y="431801"/>
                      <a:pt x="671512" y="415098"/>
                      <a:pt x="671512" y="394494"/>
                    </a:cubicBezTo>
                    <a:cubicBezTo>
                      <a:pt x="671512" y="373890"/>
                      <a:pt x="688214" y="357187"/>
                      <a:pt x="708818" y="357187"/>
                    </a:cubicBezTo>
                    <a:close/>
                    <a:moveTo>
                      <a:pt x="437001" y="306387"/>
                    </a:moveTo>
                    <a:cubicBezTo>
                      <a:pt x="458319" y="306387"/>
                      <a:pt x="474662" y="322537"/>
                      <a:pt x="474662" y="342899"/>
                    </a:cubicBezTo>
                    <a:cubicBezTo>
                      <a:pt x="474662" y="362560"/>
                      <a:pt x="458319" y="379412"/>
                      <a:pt x="437001" y="379412"/>
                    </a:cubicBezTo>
                    <a:cubicBezTo>
                      <a:pt x="417104" y="379412"/>
                      <a:pt x="400050" y="362560"/>
                      <a:pt x="400050" y="342899"/>
                    </a:cubicBezTo>
                    <a:cubicBezTo>
                      <a:pt x="400050" y="322537"/>
                      <a:pt x="417104" y="306387"/>
                      <a:pt x="437001" y="306387"/>
                    </a:cubicBezTo>
                    <a:close/>
                    <a:moveTo>
                      <a:pt x="168275" y="161925"/>
                    </a:moveTo>
                    <a:cubicBezTo>
                      <a:pt x="187935" y="161925"/>
                      <a:pt x="204787" y="178940"/>
                      <a:pt x="204787" y="198083"/>
                    </a:cubicBezTo>
                    <a:cubicBezTo>
                      <a:pt x="204787" y="218643"/>
                      <a:pt x="187935" y="234950"/>
                      <a:pt x="168275" y="234950"/>
                    </a:cubicBezTo>
                    <a:cubicBezTo>
                      <a:pt x="147912" y="234950"/>
                      <a:pt x="131762" y="218643"/>
                      <a:pt x="131762" y="198083"/>
                    </a:cubicBezTo>
                    <a:cubicBezTo>
                      <a:pt x="131762" y="178940"/>
                      <a:pt x="147912" y="161925"/>
                      <a:pt x="168275" y="161925"/>
                    </a:cubicBezTo>
                    <a:close/>
                    <a:moveTo>
                      <a:pt x="500063" y="0"/>
                    </a:moveTo>
                    <a:cubicBezTo>
                      <a:pt x="520229" y="0"/>
                      <a:pt x="536576" y="16347"/>
                      <a:pt x="536576" y="36513"/>
                    </a:cubicBezTo>
                    <a:cubicBezTo>
                      <a:pt x="536576" y="56679"/>
                      <a:pt x="520229" y="73026"/>
                      <a:pt x="500063" y="73026"/>
                    </a:cubicBezTo>
                    <a:cubicBezTo>
                      <a:pt x="479897" y="73026"/>
                      <a:pt x="463550" y="56679"/>
                      <a:pt x="463550" y="36513"/>
                    </a:cubicBezTo>
                    <a:cubicBezTo>
                      <a:pt x="463550" y="16347"/>
                      <a:pt x="479897" y="0"/>
                      <a:pt x="500063" y="0"/>
                    </a:cubicBez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2710280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68082" y="1605911"/>
            <a:ext cx="3238596" cy="4461059"/>
          </a:xfrm>
          <a:prstGeom prst="rect">
            <a:avLst/>
          </a:prstGeom>
          <a:gradFill flip="none" rotWithShape="1">
            <a:gsLst>
              <a:gs pos="0">
                <a:schemeClr val="bg1">
                  <a:alpha val="50000"/>
                </a:schemeClr>
              </a:gs>
              <a:gs pos="100000">
                <a:srgbClr val="EBA500"/>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endParaRPr lang="en-US" sz="1100" dirty="0">
              <a:solidFill>
                <a:schemeClr val="tx1"/>
              </a:solidFill>
              <a:latin typeface="Arial" panose="020B0604020202020204" pitchFamily="34" charset="0"/>
              <a:cs typeface="Arial" panose="020B0604020202020204" pitchFamily="34" charset="0"/>
            </a:endParaRPr>
          </a:p>
          <a:p>
            <a:pPr algn="l"/>
            <a:r>
              <a:rPr lang="en-US" sz="2000" dirty="0">
                <a:solidFill>
                  <a:schemeClr val="tx1"/>
                </a:solidFill>
                <a:latin typeface="Arial" panose="020B0604020202020204" pitchFamily="34" charset="0"/>
                <a:cs typeface="Arial" panose="020B0604020202020204" pitchFamily="34" charset="0"/>
              </a:rPr>
              <a:t>By 2030, 1 in 4 people in New York will be aged 60 years or over.</a:t>
            </a:r>
          </a:p>
          <a:p>
            <a:pPr algn="l"/>
            <a:endParaRPr lang="en-US" sz="2000" dirty="0">
              <a:solidFill>
                <a:schemeClr val="tx1"/>
              </a:solidFill>
              <a:latin typeface="Arial" panose="020B0604020202020204" pitchFamily="34" charset="0"/>
              <a:cs typeface="Arial" panose="020B0604020202020204" pitchFamily="34" charset="0"/>
            </a:endParaRPr>
          </a:p>
          <a:p>
            <a:pPr algn="l"/>
            <a:r>
              <a:rPr lang="en-US" sz="2000" dirty="0">
                <a:solidFill>
                  <a:schemeClr val="tx1"/>
                </a:solidFill>
                <a:latin typeface="Arial" panose="020B0604020202020204" pitchFamily="34" charset="0"/>
                <a:cs typeface="Arial" panose="020B0604020202020204" pitchFamily="34" charset="0"/>
              </a:rPr>
              <a:t>The Master Plan for Aging builds off our State’s successes in healthy aging, emphasizing aging in place and improving the lived experience for all ages.</a:t>
            </a:r>
          </a:p>
        </p:txBody>
      </p:sp>
      <p:cxnSp>
        <p:nvCxnSpPr>
          <p:cNvPr id="14" name="Straight Connector 13">
            <a:extLst>
              <a:ext uri="{FF2B5EF4-FFF2-40B4-BE49-F238E27FC236}">
                <a16:creationId xmlns:a16="http://schemas.microsoft.com/office/drawing/2014/main" id="{EEED3CF7-4B8A-F24F-A7A1-AC0F19B315EC}"/>
              </a:ext>
            </a:extLst>
          </p:cNvPr>
          <p:cNvCxnSpPr>
            <a:cxnSpLocks/>
          </p:cNvCxnSpPr>
          <p:nvPr/>
        </p:nvCxnSpPr>
        <p:spPr>
          <a:xfrm>
            <a:off x="3492739" y="2406692"/>
            <a:ext cx="1016000" cy="0"/>
          </a:xfrm>
          <a:prstGeom prst="line">
            <a:avLst/>
          </a:prstGeom>
          <a:ln w="19050">
            <a:solidFill>
              <a:srgbClr val="442862"/>
            </a:solidFill>
            <a:tailEnd type="oval"/>
          </a:ln>
        </p:spPr>
        <p:style>
          <a:lnRef idx="1">
            <a:schemeClr val="accent4"/>
          </a:lnRef>
          <a:fillRef idx="0">
            <a:schemeClr val="accent4"/>
          </a:fillRef>
          <a:effectRef idx="0">
            <a:schemeClr val="accent4"/>
          </a:effectRef>
          <a:fontRef idx="minor">
            <a:schemeClr val="tx1"/>
          </a:fontRef>
        </p:style>
      </p:cxnSp>
      <p:sp>
        <p:nvSpPr>
          <p:cNvPr id="8" name="Title 1">
            <a:extLst>
              <a:ext uri="{FF2B5EF4-FFF2-40B4-BE49-F238E27FC236}">
                <a16:creationId xmlns:a16="http://schemas.microsoft.com/office/drawing/2014/main" id="{7BE7CD73-BAEF-4F21-8FA2-F8D6A22FBD3D}"/>
              </a:ext>
            </a:extLst>
          </p:cNvPr>
          <p:cNvSpPr txBox="1">
            <a:spLocks/>
          </p:cNvSpPr>
          <p:nvPr/>
        </p:nvSpPr>
        <p:spPr>
          <a:xfrm>
            <a:off x="203200" y="608767"/>
            <a:ext cx="10933200" cy="470898"/>
          </a:xfrm>
          <a:prstGeom prst="rect">
            <a:avLst/>
          </a:prstGeom>
        </p:spPr>
        <p:txBody>
          <a:bodyPr vert="horz"/>
          <a:lstStyle>
            <a:lvl1pPr algn="l" defTabSz="914400" rtl="0" eaLnBrk="1" latinLnBrk="0" hangingPunct="1">
              <a:lnSpc>
                <a:spcPct val="90000"/>
              </a:lnSpc>
              <a:spcBef>
                <a:spcPct val="0"/>
              </a:spcBef>
              <a:buNone/>
              <a:defRPr sz="2400" kern="1200">
                <a:solidFill>
                  <a:srgbClr val="523178"/>
                </a:solidFill>
                <a:latin typeface="+mj-lt"/>
                <a:ea typeface="+mj-ea"/>
                <a:cs typeface="+mj-cs"/>
                <a:sym typeface="Trebuchet MS" panose="020B0603020202020204" pitchFamily="34" charset="0"/>
              </a:defRPr>
            </a:lvl1pPr>
          </a:lstStyle>
          <a:p>
            <a:r>
              <a:rPr lang="en-US" sz="3400" dirty="0"/>
              <a:t>Why does New York need a Master Plan for Aging?</a:t>
            </a:r>
          </a:p>
        </p:txBody>
      </p:sp>
      <p:pic>
        <p:nvPicPr>
          <p:cNvPr id="4" name="Picture 3" descr="Text&#10;&#10;Description automatically generated">
            <a:extLst>
              <a:ext uri="{FF2B5EF4-FFF2-40B4-BE49-F238E27FC236}">
                <a16:creationId xmlns:a16="http://schemas.microsoft.com/office/drawing/2014/main" id="{5307C04B-7FE3-4160-9F14-98D28D95A156}"/>
              </a:ext>
            </a:extLst>
          </p:cNvPr>
          <p:cNvPicPr>
            <a:picLocks noChangeAspect="1"/>
          </p:cNvPicPr>
          <p:nvPr/>
        </p:nvPicPr>
        <p:blipFill>
          <a:blip r:embed="rId3"/>
          <a:stretch>
            <a:fillRect/>
          </a:stretch>
        </p:blipFill>
        <p:spPr>
          <a:xfrm>
            <a:off x="4594800" y="1605911"/>
            <a:ext cx="3543301" cy="3543293"/>
          </a:xfrm>
          <a:prstGeom prst="rect">
            <a:avLst/>
          </a:prstGeom>
        </p:spPr>
      </p:pic>
      <p:pic>
        <p:nvPicPr>
          <p:cNvPr id="7" name="Picture 6" descr="Diagram&#10;&#10;Description automatically generated with low confidence">
            <a:extLst>
              <a:ext uri="{FF2B5EF4-FFF2-40B4-BE49-F238E27FC236}">
                <a16:creationId xmlns:a16="http://schemas.microsoft.com/office/drawing/2014/main" id="{12017C3E-56BD-4232-BFB8-F18B64609AB7}"/>
              </a:ext>
            </a:extLst>
          </p:cNvPr>
          <p:cNvPicPr>
            <a:picLocks noChangeAspect="1"/>
          </p:cNvPicPr>
          <p:nvPr/>
        </p:nvPicPr>
        <p:blipFill>
          <a:blip r:embed="rId4"/>
          <a:stretch>
            <a:fillRect/>
          </a:stretch>
        </p:blipFill>
        <p:spPr>
          <a:xfrm>
            <a:off x="8480618" y="2523678"/>
            <a:ext cx="3543300" cy="3543292"/>
          </a:xfrm>
          <a:prstGeom prst="rect">
            <a:avLst/>
          </a:prstGeom>
        </p:spPr>
      </p:pic>
    </p:spTree>
    <p:extLst>
      <p:ext uri="{BB962C8B-B14F-4D97-AF65-F5344CB8AC3E}">
        <p14:creationId xmlns:p14="http://schemas.microsoft.com/office/powerpoint/2010/main" val="2731407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BE7CD73-BAEF-4F21-8FA2-F8D6A22FBD3D}"/>
              </a:ext>
            </a:extLst>
          </p:cNvPr>
          <p:cNvSpPr txBox="1">
            <a:spLocks/>
          </p:cNvSpPr>
          <p:nvPr/>
        </p:nvSpPr>
        <p:spPr>
          <a:xfrm>
            <a:off x="203200" y="352062"/>
            <a:ext cx="10933200" cy="470898"/>
          </a:xfrm>
          <a:prstGeom prst="rect">
            <a:avLst/>
          </a:prstGeom>
        </p:spPr>
        <p:txBody>
          <a:bodyPr vert="horz"/>
          <a:lstStyle>
            <a:lvl1pPr algn="l" defTabSz="914400" rtl="0" eaLnBrk="1" latinLnBrk="0" hangingPunct="1">
              <a:lnSpc>
                <a:spcPct val="90000"/>
              </a:lnSpc>
              <a:spcBef>
                <a:spcPct val="0"/>
              </a:spcBef>
              <a:buNone/>
              <a:defRPr sz="2400" kern="1200">
                <a:solidFill>
                  <a:srgbClr val="523178"/>
                </a:solidFill>
                <a:latin typeface="+mj-lt"/>
                <a:ea typeface="+mj-ea"/>
                <a:cs typeface="+mj-cs"/>
                <a:sym typeface="Trebuchet MS" panose="020B0603020202020204" pitchFamily="34" charset="0"/>
              </a:defRPr>
            </a:lvl1pPr>
          </a:lstStyle>
          <a:p>
            <a:r>
              <a:rPr lang="en-US" sz="3400" dirty="0"/>
              <a:t>All New Yorkers deserve a fair chance to live not only a long life, but also a healthy and vibrant one</a:t>
            </a:r>
          </a:p>
        </p:txBody>
      </p:sp>
      <p:sp>
        <p:nvSpPr>
          <p:cNvPr id="7" name="TextBox 6">
            <a:extLst>
              <a:ext uri="{FF2B5EF4-FFF2-40B4-BE49-F238E27FC236}">
                <a16:creationId xmlns:a16="http://schemas.microsoft.com/office/drawing/2014/main" id="{E5918892-1F35-4B6F-AEC5-41A72953D7ED}"/>
              </a:ext>
            </a:extLst>
          </p:cNvPr>
          <p:cNvSpPr txBox="1"/>
          <p:nvPr/>
        </p:nvSpPr>
        <p:spPr>
          <a:xfrm>
            <a:off x="340991" y="1774425"/>
            <a:ext cx="3238596" cy="4461058"/>
          </a:xfrm>
          <a:prstGeom prst="rect">
            <a:avLst/>
          </a:prstGeom>
          <a:gradFill flip="none" rotWithShape="1">
            <a:gsLst>
              <a:gs pos="0">
                <a:schemeClr val="bg1">
                  <a:alpha val="50000"/>
                </a:schemeClr>
              </a:gs>
              <a:gs pos="100000">
                <a:srgbClr val="EBA500"/>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2000" dirty="0">
                <a:solidFill>
                  <a:schemeClr val="tx1"/>
                </a:solidFill>
              </a:rPr>
              <a:t>New York is the first Age Friendly State in the Nation. The Department of Health and the State Office for Aging have together supported complementary missions of fostering policy, programs, and services that meet the needs of aging and disabled New Yorkers. </a:t>
            </a:r>
          </a:p>
        </p:txBody>
      </p:sp>
      <p:cxnSp>
        <p:nvCxnSpPr>
          <p:cNvPr id="10" name="Straight Connector 9">
            <a:extLst>
              <a:ext uri="{FF2B5EF4-FFF2-40B4-BE49-F238E27FC236}">
                <a16:creationId xmlns:a16="http://schemas.microsoft.com/office/drawing/2014/main" id="{02649338-2367-47F6-994D-822E2BE51E84}"/>
              </a:ext>
            </a:extLst>
          </p:cNvPr>
          <p:cNvCxnSpPr>
            <a:cxnSpLocks/>
          </p:cNvCxnSpPr>
          <p:nvPr/>
        </p:nvCxnSpPr>
        <p:spPr>
          <a:xfrm>
            <a:off x="3646841" y="2504662"/>
            <a:ext cx="1016000" cy="0"/>
          </a:xfrm>
          <a:prstGeom prst="line">
            <a:avLst/>
          </a:prstGeom>
          <a:ln w="19050">
            <a:solidFill>
              <a:srgbClr val="442862"/>
            </a:solidFill>
            <a:tailEnd type="oval"/>
          </a:ln>
        </p:spPr>
        <p:style>
          <a:lnRef idx="1">
            <a:schemeClr val="accent4"/>
          </a:lnRef>
          <a:fillRef idx="0">
            <a:schemeClr val="accent4"/>
          </a:fillRef>
          <a:effectRef idx="0">
            <a:schemeClr val="accent4"/>
          </a:effectRef>
          <a:fontRef idx="minor">
            <a:schemeClr val="tx1"/>
          </a:fontRef>
        </p:style>
      </p:cxnSp>
      <p:pic>
        <p:nvPicPr>
          <p:cNvPr id="3" name="Picture 2" descr="Text&#10;&#10;Description automatically generated">
            <a:extLst>
              <a:ext uri="{FF2B5EF4-FFF2-40B4-BE49-F238E27FC236}">
                <a16:creationId xmlns:a16="http://schemas.microsoft.com/office/drawing/2014/main" id="{47BFD3A9-E3FE-4284-9995-20347742F71F}"/>
              </a:ext>
            </a:extLst>
          </p:cNvPr>
          <p:cNvPicPr>
            <a:picLocks noChangeAspect="1"/>
          </p:cNvPicPr>
          <p:nvPr/>
        </p:nvPicPr>
        <p:blipFill>
          <a:blip r:embed="rId3"/>
          <a:stretch>
            <a:fillRect/>
          </a:stretch>
        </p:blipFill>
        <p:spPr>
          <a:xfrm>
            <a:off x="4774207" y="1774425"/>
            <a:ext cx="3541463" cy="3300024"/>
          </a:xfrm>
          <a:prstGeom prst="rect">
            <a:avLst/>
          </a:prstGeom>
        </p:spPr>
      </p:pic>
      <p:pic>
        <p:nvPicPr>
          <p:cNvPr id="5" name="Picture 4" descr="Graphical user interface, text, chat or text message&#10;&#10;Description automatically generated">
            <a:extLst>
              <a:ext uri="{FF2B5EF4-FFF2-40B4-BE49-F238E27FC236}">
                <a16:creationId xmlns:a16="http://schemas.microsoft.com/office/drawing/2014/main" id="{6C2D8088-999B-4C9D-AE4C-1688464E7971}"/>
              </a:ext>
            </a:extLst>
          </p:cNvPr>
          <p:cNvPicPr>
            <a:picLocks noChangeAspect="1"/>
          </p:cNvPicPr>
          <p:nvPr/>
        </p:nvPicPr>
        <p:blipFill>
          <a:blip r:embed="rId4"/>
          <a:stretch>
            <a:fillRect/>
          </a:stretch>
        </p:blipFill>
        <p:spPr>
          <a:xfrm>
            <a:off x="8417511" y="2935459"/>
            <a:ext cx="3541464" cy="3300024"/>
          </a:xfrm>
          <a:prstGeom prst="rect">
            <a:avLst/>
          </a:prstGeom>
        </p:spPr>
      </p:pic>
    </p:spTree>
    <p:extLst>
      <p:ext uri="{BB962C8B-B14F-4D97-AF65-F5344CB8AC3E}">
        <p14:creationId xmlns:p14="http://schemas.microsoft.com/office/powerpoint/2010/main" val="2778233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2E27E-2C8F-467D-8FC0-3C0C02B8B50C}"/>
              </a:ext>
            </a:extLst>
          </p:cNvPr>
          <p:cNvGraphicFramePr>
            <a:graphicFrameLocks noChangeAspect="1"/>
          </p:cNvGraphicFramePr>
          <p:nvPr>
            <p:custDataLst>
              <p:tags r:id="rId2"/>
            </p:custDataLst>
            <p:extLst>
              <p:ext uri="{D42A27DB-BD31-4B8C-83A1-F6EECF244321}">
                <p14:modId xmlns:p14="http://schemas.microsoft.com/office/powerpoint/2010/main" val="515415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0E2E27E-2C8F-467D-8FC0-3C0C02B8B5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22">
            <a:extLst>
              <a:ext uri="{FF2B5EF4-FFF2-40B4-BE49-F238E27FC236}">
                <a16:creationId xmlns:a16="http://schemas.microsoft.com/office/drawing/2014/main" id="{DECA1A3C-3C69-42A8-8E82-DBAAD36D5D41}"/>
              </a:ext>
            </a:extLst>
          </p:cNvPr>
          <p:cNvSpPr txBox="1">
            <a:spLocks/>
          </p:cNvSpPr>
          <p:nvPr/>
        </p:nvSpPr>
        <p:spPr>
          <a:xfrm>
            <a:off x="4864840" y="1498985"/>
            <a:ext cx="2856760" cy="868058"/>
          </a:xfrm>
          <a:prstGeom prst="rect">
            <a:avLst/>
          </a:prstGeom>
        </p:spPr>
        <p:txBody>
          <a:bodyPr wrap="square" lIns="0" tIns="0" rIns="0" bIns="0" anchor="t">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buSzPct val="100000"/>
              <a:buFont typeface="Trebuchet MS" panose="020B0603020202020204" pitchFamily="34" charset="0"/>
              <a:buChar char="​"/>
            </a:pPr>
            <a:r>
              <a:rPr lang="en-US" sz="1800" dirty="0">
                <a:solidFill>
                  <a:schemeClr val="tx1">
                    <a:lumMod val="100000"/>
                  </a:schemeClr>
                </a:solidFill>
                <a:latin typeface="Trebuchet MS" panose="020B0603020202020204" pitchFamily="34" charset="0"/>
              </a:rPr>
              <a:t>Factors that impact health including transportation and housing </a:t>
            </a:r>
          </a:p>
        </p:txBody>
      </p:sp>
      <p:sp>
        <p:nvSpPr>
          <p:cNvPr id="49" name="Text Placeholder 22">
            <a:extLst>
              <a:ext uri="{FF2B5EF4-FFF2-40B4-BE49-F238E27FC236}">
                <a16:creationId xmlns:a16="http://schemas.microsoft.com/office/drawing/2014/main" id="{EB0ABBAE-88B0-4C6F-B014-7C4E323E0EA3}"/>
              </a:ext>
            </a:extLst>
          </p:cNvPr>
          <p:cNvSpPr txBox="1">
            <a:spLocks/>
          </p:cNvSpPr>
          <p:nvPr/>
        </p:nvSpPr>
        <p:spPr>
          <a:xfrm>
            <a:off x="8969480" y="1498985"/>
            <a:ext cx="2856760" cy="868058"/>
          </a:xfrm>
          <a:prstGeom prst="rect">
            <a:avLst/>
          </a:prstGeom>
        </p:spPr>
        <p:txBody>
          <a:bodyPr wrap="square" lIns="0" tIns="0" rIns="0" bIns="0" anchor="t">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buSzPct val="100000"/>
              <a:buFont typeface="Trebuchet MS" panose="020B0603020202020204" pitchFamily="34" charset="0"/>
              <a:buChar char="​"/>
            </a:pPr>
            <a:r>
              <a:rPr lang="en-US" sz="1800" dirty="0">
                <a:solidFill>
                  <a:schemeClr val="tx1">
                    <a:lumMod val="100000"/>
                  </a:schemeClr>
                </a:solidFill>
                <a:latin typeface="Trebuchet MS" panose="020B0603020202020204" pitchFamily="34" charset="0"/>
              </a:rPr>
              <a:t>Rising use of healthcare services as people age</a:t>
            </a:r>
          </a:p>
        </p:txBody>
      </p:sp>
      <p:sp>
        <p:nvSpPr>
          <p:cNvPr id="55" name="Text Placeholder 22">
            <a:extLst>
              <a:ext uri="{FF2B5EF4-FFF2-40B4-BE49-F238E27FC236}">
                <a16:creationId xmlns:a16="http://schemas.microsoft.com/office/drawing/2014/main" id="{75BE4CC9-D467-4935-AB3D-6AEB2901E628}"/>
              </a:ext>
            </a:extLst>
          </p:cNvPr>
          <p:cNvSpPr txBox="1">
            <a:spLocks/>
          </p:cNvSpPr>
          <p:nvPr/>
        </p:nvSpPr>
        <p:spPr>
          <a:xfrm>
            <a:off x="4883387" y="3754980"/>
            <a:ext cx="2856760" cy="868058"/>
          </a:xfrm>
          <a:prstGeom prst="rect">
            <a:avLst/>
          </a:prstGeom>
        </p:spPr>
        <p:txBody>
          <a:bodyPr wrap="square" lIns="0" tIns="0" rIns="0" bIns="0" anchor="t">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buSzPct val="100000"/>
              <a:buFont typeface="Trebuchet MS" panose="020B0603020202020204" pitchFamily="34" charset="0"/>
              <a:buChar char="​"/>
            </a:pPr>
            <a:r>
              <a:rPr lang="en-US" sz="1800" dirty="0">
                <a:solidFill>
                  <a:schemeClr val="tx1">
                    <a:lumMod val="100000"/>
                  </a:schemeClr>
                </a:solidFill>
                <a:latin typeface="Trebuchet MS" panose="020B0603020202020204" pitchFamily="34" charset="0"/>
              </a:rPr>
              <a:t>Medicaid and Medicare funding</a:t>
            </a:r>
          </a:p>
        </p:txBody>
      </p:sp>
      <p:sp>
        <p:nvSpPr>
          <p:cNvPr id="61" name="Text Placeholder 22">
            <a:extLst>
              <a:ext uri="{FF2B5EF4-FFF2-40B4-BE49-F238E27FC236}">
                <a16:creationId xmlns:a16="http://schemas.microsoft.com/office/drawing/2014/main" id="{068CF9C9-2A23-42F4-A39B-DDF734A59A5B}"/>
              </a:ext>
            </a:extLst>
          </p:cNvPr>
          <p:cNvSpPr txBox="1">
            <a:spLocks/>
          </p:cNvSpPr>
          <p:nvPr/>
        </p:nvSpPr>
        <p:spPr>
          <a:xfrm>
            <a:off x="8969480" y="3754980"/>
            <a:ext cx="2856760" cy="868058"/>
          </a:xfrm>
          <a:prstGeom prst="rect">
            <a:avLst/>
          </a:prstGeom>
        </p:spPr>
        <p:txBody>
          <a:bodyPr wrap="square" lIns="0" tIns="0" rIns="0" bIns="0" anchor="t">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buSzPct val="100000"/>
              <a:buFont typeface="Trebuchet MS" panose="020B0603020202020204" pitchFamily="34" charset="0"/>
              <a:buChar char="​"/>
            </a:pPr>
            <a:r>
              <a:rPr lang="en-US" sz="1800" dirty="0">
                <a:solidFill>
                  <a:schemeClr val="tx1">
                    <a:lumMod val="100000"/>
                  </a:schemeClr>
                </a:solidFill>
                <a:latin typeface="Trebuchet MS" panose="020B0603020202020204" pitchFamily="34" charset="0"/>
              </a:rPr>
              <a:t>Healthcare workforce challenges</a:t>
            </a:r>
          </a:p>
        </p:txBody>
      </p:sp>
      <p:sp>
        <p:nvSpPr>
          <p:cNvPr id="67" name="Text Placeholder 22">
            <a:extLst>
              <a:ext uri="{FF2B5EF4-FFF2-40B4-BE49-F238E27FC236}">
                <a16:creationId xmlns:a16="http://schemas.microsoft.com/office/drawing/2014/main" id="{2FD5F7BB-82E5-4C71-82FB-C862182B90F1}"/>
              </a:ext>
            </a:extLst>
          </p:cNvPr>
          <p:cNvSpPr txBox="1">
            <a:spLocks/>
          </p:cNvSpPr>
          <p:nvPr/>
        </p:nvSpPr>
        <p:spPr>
          <a:xfrm>
            <a:off x="4864840" y="5817460"/>
            <a:ext cx="2856760" cy="868058"/>
          </a:xfrm>
          <a:prstGeom prst="rect">
            <a:avLst/>
          </a:prstGeom>
        </p:spPr>
        <p:txBody>
          <a:bodyPr wrap="square" lIns="0" tIns="0" rIns="0" bIns="0" anchor="t">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buSzPct val="100000"/>
              <a:buFont typeface="Trebuchet MS" panose="020B0603020202020204" pitchFamily="34" charset="0"/>
              <a:buChar char="​"/>
            </a:pPr>
            <a:r>
              <a:rPr lang="en-US" sz="1800" dirty="0">
                <a:solidFill>
                  <a:schemeClr val="tx1">
                    <a:lumMod val="100000"/>
                  </a:schemeClr>
                </a:solidFill>
                <a:latin typeface="Trebuchet MS" panose="020B0603020202020204" pitchFamily="34" charset="0"/>
              </a:rPr>
              <a:t>Meaningful choice and remaining in community</a:t>
            </a:r>
          </a:p>
        </p:txBody>
      </p:sp>
      <p:sp>
        <p:nvSpPr>
          <p:cNvPr id="73" name="Text Placeholder 22">
            <a:extLst>
              <a:ext uri="{FF2B5EF4-FFF2-40B4-BE49-F238E27FC236}">
                <a16:creationId xmlns:a16="http://schemas.microsoft.com/office/drawing/2014/main" id="{07D4896A-7EF2-48E2-BBE8-461C9A10C663}"/>
              </a:ext>
            </a:extLst>
          </p:cNvPr>
          <p:cNvSpPr txBox="1">
            <a:spLocks/>
          </p:cNvSpPr>
          <p:nvPr/>
        </p:nvSpPr>
        <p:spPr>
          <a:xfrm>
            <a:off x="8969480" y="5817460"/>
            <a:ext cx="2856760" cy="868058"/>
          </a:xfrm>
          <a:prstGeom prst="rect">
            <a:avLst/>
          </a:prstGeom>
        </p:spPr>
        <p:txBody>
          <a:bodyPr wrap="square" lIns="0" tIns="0" rIns="0" bIns="0" anchor="t">
            <a:noAutofit/>
          </a:bodyPr>
          <a:lstStyle>
            <a:lvl1pPr marL="0" indent="0" algn="l" defTabSz="914400" rtl="0" eaLnBrk="1" latinLnBrk="0" hangingPunct="1">
              <a:lnSpc>
                <a:spcPct val="104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173736" indent="-173736"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393192" indent="-173038" algn="l" defTabSz="914400" rtl="0" eaLnBrk="1" latinLnBrk="0" hangingPunct="1">
              <a:lnSpc>
                <a:spcPct val="104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07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621792" indent="-164592" algn="l" defTabSz="914400" rtl="0" eaLnBrk="1" latinLnBrk="0" hangingPunct="1">
              <a:lnSpc>
                <a:spcPct val="100000"/>
              </a:lnSpc>
              <a:spcBef>
                <a:spcPts val="300"/>
              </a:spcBef>
              <a:spcAft>
                <a:spcPts val="300"/>
              </a:spcAft>
              <a:buClr>
                <a:schemeClr val="tx2"/>
              </a:buClr>
              <a:buFont typeface="Arial" panose="020B0604020202020204" pitchFamily="34" charset="0"/>
              <a:buChar char="•"/>
              <a:defRPr sz="2000" kern="1200">
                <a:solidFill>
                  <a:schemeClr val="tx1"/>
                </a:solidFill>
                <a:latin typeface="+mn-lt"/>
                <a:ea typeface="+mn-ea"/>
                <a:cs typeface="+mn-cs"/>
              </a:defRPr>
            </a:lvl5pPr>
            <a:lvl6pPr marL="857250" indent="-17145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6pPr>
            <a:lvl7pPr marL="0" indent="0" algn="l" defTabSz="914400" rtl="0" eaLnBrk="1" latinLnBrk="0" hangingPunct="1">
              <a:lnSpc>
                <a:spcPct val="93000"/>
              </a:lnSpc>
              <a:spcBef>
                <a:spcPts val="0"/>
              </a:spcBef>
              <a:spcAft>
                <a:spcPts val="600"/>
              </a:spcAft>
              <a:buFont typeface="Arial" panose="020B0604020202020204" pitchFamily="34" charset="0"/>
              <a:buChar char="​"/>
              <a:defRPr sz="5400" kern="1200">
                <a:solidFill>
                  <a:schemeClr val="tx1"/>
                </a:solidFill>
                <a:latin typeface="+mn-lt"/>
                <a:ea typeface="+mn-ea"/>
                <a:cs typeface="+mn-cs"/>
              </a:defRPr>
            </a:lvl7pPr>
            <a:lvl8pPr marL="0" indent="0" algn="l" defTabSz="914400" rtl="0" eaLnBrk="1" latinLnBrk="0" hangingPunct="1">
              <a:lnSpc>
                <a:spcPct val="93000"/>
              </a:lnSpc>
              <a:spcBef>
                <a:spcPts val="0"/>
              </a:spcBef>
              <a:spcAft>
                <a:spcPts val="600"/>
              </a:spcAft>
              <a:buFont typeface="Arial" panose="020B0604020202020204" pitchFamily="34" charset="0"/>
              <a:buChar char="​"/>
              <a:defRPr sz="8800" kern="1200">
                <a:solidFill>
                  <a:schemeClr val="tx1"/>
                </a:solidFill>
                <a:latin typeface="+mn-lt"/>
                <a:ea typeface="+mn-ea"/>
                <a:cs typeface="+mn-cs"/>
              </a:defRPr>
            </a:lvl8pPr>
            <a:lvl9pPr marL="0" indent="0" algn="l" defTabSz="914400" rtl="0" eaLnBrk="1" latinLnBrk="0" hangingPunct="1">
              <a:lnSpc>
                <a:spcPct val="104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9pPr>
          </a:lstStyle>
          <a:p>
            <a:pPr algn="ctr">
              <a:lnSpc>
                <a:spcPct val="100000"/>
              </a:lnSpc>
              <a:buSzPct val="100000"/>
              <a:buFont typeface="Trebuchet MS" panose="020B0603020202020204" pitchFamily="34" charset="0"/>
              <a:buChar char="​"/>
            </a:pPr>
            <a:r>
              <a:rPr lang="en-US" sz="1800" dirty="0">
                <a:solidFill>
                  <a:schemeClr val="tx1">
                    <a:lumMod val="100000"/>
                  </a:schemeClr>
                </a:solidFill>
                <a:latin typeface="Trebuchet MS" panose="020B0603020202020204" pitchFamily="34" charset="0"/>
              </a:rPr>
              <a:t>Family caregivers</a:t>
            </a:r>
          </a:p>
        </p:txBody>
      </p:sp>
      <p:grpSp>
        <p:nvGrpSpPr>
          <p:cNvPr id="79" name="bcgIcons_Bus 1 ">
            <a:extLst>
              <a:ext uri="{FF2B5EF4-FFF2-40B4-BE49-F238E27FC236}">
                <a16:creationId xmlns:a16="http://schemas.microsoft.com/office/drawing/2014/main" id="{33B0BA07-084C-4479-909C-D25A2FFA4D9D}"/>
              </a:ext>
            </a:extLst>
          </p:cNvPr>
          <p:cNvGrpSpPr>
            <a:grpSpLocks noChangeAspect="1"/>
          </p:cNvGrpSpPr>
          <p:nvPr/>
        </p:nvGrpSpPr>
        <p:grpSpPr>
          <a:xfrm>
            <a:off x="5655547" y="531067"/>
            <a:ext cx="1275345" cy="1275345"/>
            <a:chOff x="5275263" y="3308350"/>
            <a:chExt cx="1644650" cy="1644650"/>
          </a:xfrm>
        </p:grpSpPr>
        <p:sp>
          <p:nvSpPr>
            <p:cNvPr id="80" name="AutoShape 3">
              <a:extLst>
                <a:ext uri="{FF2B5EF4-FFF2-40B4-BE49-F238E27FC236}">
                  <a16:creationId xmlns:a16="http://schemas.microsoft.com/office/drawing/2014/main" id="{D7A645B4-A2D0-45F9-8657-2031868244D0}"/>
                </a:ext>
              </a:extLst>
            </p:cNvPr>
            <p:cNvSpPr>
              <a:spLocks noChangeAspect="1" noChangeArrowheads="1" noTextEdit="1"/>
            </p:cNvSpPr>
            <p:nvPr/>
          </p:nvSpPr>
          <p:spPr bwMode="auto">
            <a:xfrm>
              <a:off x="5275263" y="3308350"/>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1" name="Group 80">
              <a:extLst>
                <a:ext uri="{FF2B5EF4-FFF2-40B4-BE49-F238E27FC236}">
                  <a16:creationId xmlns:a16="http://schemas.microsoft.com/office/drawing/2014/main" id="{49771DDC-8E89-4130-B13D-B276F1E9271C}"/>
                </a:ext>
              </a:extLst>
            </p:cNvPr>
            <p:cNvGrpSpPr/>
            <p:nvPr/>
          </p:nvGrpSpPr>
          <p:grpSpPr>
            <a:xfrm>
              <a:off x="5445125" y="3802062"/>
              <a:ext cx="1304925" cy="657226"/>
              <a:chOff x="5445125" y="3802062"/>
              <a:chExt cx="1304925" cy="657226"/>
            </a:xfrm>
          </p:grpSpPr>
          <p:sp>
            <p:nvSpPr>
              <p:cNvPr id="82" name="Freeform 48">
                <a:extLst>
                  <a:ext uri="{FF2B5EF4-FFF2-40B4-BE49-F238E27FC236}">
                    <a16:creationId xmlns:a16="http://schemas.microsoft.com/office/drawing/2014/main" id="{28E32790-B1A8-469D-9F22-F4B91A41BE32}"/>
                  </a:ext>
                </a:extLst>
              </p:cNvPr>
              <p:cNvSpPr/>
              <p:nvPr/>
            </p:nvSpPr>
            <p:spPr>
              <a:xfrm>
                <a:off x="5445125" y="3802062"/>
                <a:ext cx="1304925" cy="657226"/>
              </a:xfrm>
              <a:custGeom>
                <a:avLst/>
                <a:gdLst>
                  <a:gd name="connsiteX0" fmla="*/ 362395 w 1304925"/>
                  <a:gd name="connsiteY0" fmla="*/ 515938 h 657226"/>
                  <a:gd name="connsiteX1" fmla="*/ 978927 w 1304925"/>
                  <a:gd name="connsiteY1" fmla="*/ 515938 h 657226"/>
                  <a:gd name="connsiteX2" fmla="*/ 976338 w 1304925"/>
                  <a:gd name="connsiteY2" fmla="*/ 519741 h 657226"/>
                  <a:gd name="connsiteX3" fmla="*/ 970659 w 1304925"/>
                  <a:gd name="connsiteY3" fmla="*/ 547688 h 657226"/>
                  <a:gd name="connsiteX4" fmla="*/ 780677 w 1304925"/>
                  <a:gd name="connsiteY4" fmla="*/ 547688 h 657226"/>
                  <a:gd name="connsiteX5" fmla="*/ 429535 w 1304925"/>
                  <a:gd name="connsiteY5" fmla="*/ 547688 h 657226"/>
                  <a:gd name="connsiteX6" fmla="*/ 370739 w 1304925"/>
                  <a:gd name="connsiteY6" fmla="*/ 547688 h 657226"/>
                  <a:gd name="connsiteX7" fmla="*/ 365000 w 1304925"/>
                  <a:gd name="connsiteY7" fmla="*/ 519741 h 657226"/>
                  <a:gd name="connsiteX8" fmla="*/ 1089024 w 1304925"/>
                  <a:gd name="connsiteY8" fmla="*/ 508000 h 657226"/>
                  <a:gd name="connsiteX9" fmla="*/ 1028699 w 1304925"/>
                  <a:gd name="connsiteY9" fmla="*/ 566382 h 657226"/>
                  <a:gd name="connsiteX10" fmla="*/ 1089024 w 1304925"/>
                  <a:gd name="connsiteY10" fmla="*/ 625475 h 657226"/>
                  <a:gd name="connsiteX11" fmla="*/ 1149349 w 1304925"/>
                  <a:gd name="connsiteY11" fmla="*/ 566382 h 657226"/>
                  <a:gd name="connsiteX12" fmla="*/ 1089024 w 1304925"/>
                  <a:gd name="connsiteY12" fmla="*/ 508000 h 657226"/>
                  <a:gd name="connsiteX13" fmla="*/ 251975 w 1304925"/>
                  <a:gd name="connsiteY13" fmla="*/ 508000 h 657226"/>
                  <a:gd name="connsiteX14" fmla="*/ 192087 w 1304925"/>
                  <a:gd name="connsiteY14" fmla="*/ 566382 h 657226"/>
                  <a:gd name="connsiteX15" fmla="*/ 251975 w 1304925"/>
                  <a:gd name="connsiteY15" fmla="*/ 625475 h 657226"/>
                  <a:gd name="connsiteX16" fmla="*/ 311150 w 1304925"/>
                  <a:gd name="connsiteY16" fmla="*/ 566382 h 657226"/>
                  <a:gd name="connsiteX17" fmla="*/ 251975 w 1304925"/>
                  <a:gd name="connsiteY17" fmla="*/ 508000 h 657226"/>
                  <a:gd name="connsiteX18" fmla="*/ 1089025 w 1304925"/>
                  <a:gd name="connsiteY18" fmla="*/ 476250 h 657226"/>
                  <a:gd name="connsiteX19" fmla="*/ 1179513 w 1304925"/>
                  <a:gd name="connsiteY19" fmla="*/ 566738 h 657226"/>
                  <a:gd name="connsiteX20" fmla="*/ 1089025 w 1304925"/>
                  <a:gd name="connsiteY20" fmla="*/ 657226 h 657226"/>
                  <a:gd name="connsiteX21" fmla="*/ 998537 w 1304925"/>
                  <a:gd name="connsiteY21" fmla="*/ 566738 h 657226"/>
                  <a:gd name="connsiteX22" fmla="*/ 1089025 w 1304925"/>
                  <a:gd name="connsiteY22" fmla="*/ 476250 h 657226"/>
                  <a:gd name="connsiteX23" fmla="*/ 252412 w 1304925"/>
                  <a:gd name="connsiteY23" fmla="*/ 476250 h 657226"/>
                  <a:gd name="connsiteX24" fmla="*/ 342900 w 1304925"/>
                  <a:gd name="connsiteY24" fmla="*/ 566738 h 657226"/>
                  <a:gd name="connsiteX25" fmla="*/ 252412 w 1304925"/>
                  <a:gd name="connsiteY25" fmla="*/ 657226 h 657226"/>
                  <a:gd name="connsiteX26" fmla="*/ 161924 w 1304925"/>
                  <a:gd name="connsiteY26" fmla="*/ 566738 h 657226"/>
                  <a:gd name="connsiteX27" fmla="*/ 252412 w 1304925"/>
                  <a:gd name="connsiteY27" fmla="*/ 476250 h 657226"/>
                  <a:gd name="connsiteX28" fmla="*/ 15705 w 1304925"/>
                  <a:gd name="connsiteY28" fmla="*/ 0 h 657226"/>
                  <a:gd name="connsiteX29" fmla="*/ 1090055 w 1304925"/>
                  <a:gd name="connsiteY29" fmla="*/ 0 h 657226"/>
                  <a:gd name="connsiteX30" fmla="*/ 1102905 w 1304925"/>
                  <a:gd name="connsiteY30" fmla="*/ 7141 h 657226"/>
                  <a:gd name="connsiteX31" fmla="*/ 1302070 w 1304925"/>
                  <a:gd name="connsiteY31" fmla="*/ 313475 h 657226"/>
                  <a:gd name="connsiteX32" fmla="*/ 1304925 w 1304925"/>
                  <a:gd name="connsiteY32" fmla="*/ 322758 h 657226"/>
                  <a:gd name="connsiteX33" fmla="*/ 1304925 w 1304925"/>
                  <a:gd name="connsiteY33" fmla="*/ 531979 h 657226"/>
                  <a:gd name="connsiteX34" fmla="*/ 1289220 w 1304925"/>
                  <a:gd name="connsiteY34" fmla="*/ 547688 h 657226"/>
                  <a:gd name="connsiteX35" fmla="*/ 1207352 w 1304925"/>
                  <a:gd name="connsiteY35" fmla="*/ 547688 h 657226"/>
                  <a:gd name="connsiteX36" fmla="*/ 1201613 w 1304925"/>
                  <a:gd name="connsiteY36" fmla="*/ 519741 h 657226"/>
                  <a:gd name="connsiteX37" fmla="*/ 1199008 w 1304925"/>
                  <a:gd name="connsiteY37" fmla="*/ 515938 h 657226"/>
                  <a:gd name="connsiteX38" fmla="*/ 1273176 w 1304925"/>
                  <a:gd name="connsiteY38" fmla="*/ 515938 h 657226"/>
                  <a:gd name="connsiteX39" fmla="*/ 1273176 w 1304925"/>
                  <a:gd name="connsiteY39" fmla="*/ 427470 h 657226"/>
                  <a:gd name="connsiteX40" fmla="*/ 1258888 w 1304925"/>
                  <a:gd name="connsiteY40" fmla="*/ 433388 h 657226"/>
                  <a:gd name="connsiteX41" fmla="*/ 1225550 w 1304925"/>
                  <a:gd name="connsiteY41" fmla="*/ 400050 h 657226"/>
                  <a:gd name="connsiteX42" fmla="*/ 1258888 w 1304925"/>
                  <a:gd name="connsiteY42" fmla="*/ 366712 h 657226"/>
                  <a:gd name="connsiteX43" fmla="*/ 1273176 w 1304925"/>
                  <a:gd name="connsiteY43" fmla="*/ 372630 h 657226"/>
                  <a:gd name="connsiteX44" fmla="*/ 1273176 w 1304925"/>
                  <a:gd name="connsiteY44" fmla="*/ 327025 h 657226"/>
                  <a:gd name="connsiteX45" fmla="*/ 1081089 w 1304925"/>
                  <a:gd name="connsiteY45" fmla="*/ 31750 h 657226"/>
                  <a:gd name="connsiteX46" fmla="*/ 30163 w 1304925"/>
                  <a:gd name="connsiteY46" fmla="*/ 31750 h 657226"/>
                  <a:gd name="connsiteX47" fmla="*/ 30163 w 1304925"/>
                  <a:gd name="connsiteY47" fmla="*/ 515938 h 657226"/>
                  <a:gd name="connsiteX48" fmla="*/ 142314 w 1304925"/>
                  <a:gd name="connsiteY48" fmla="*/ 515938 h 657226"/>
                  <a:gd name="connsiteX49" fmla="*/ 139725 w 1304925"/>
                  <a:gd name="connsiteY49" fmla="*/ 519741 h 657226"/>
                  <a:gd name="connsiteX50" fmla="*/ 134046 w 1304925"/>
                  <a:gd name="connsiteY50" fmla="*/ 547688 h 657226"/>
                  <a:gd name="connsiteX51" fmla="*/ 122350 w 1304925"/>
                  <a:gd name="connsiteY51" fmla="*/ 547688 h 657226"/>
                  <a:gd name="connsiteX52" fmla="*/ 15705 w 1304925"/>
                  <a:gd name="connsiteY52" fmla="*/ 547688 h 657226"/>
                  <a:gd name="connsiteX53" fmla="*/ 0 w 1304925"/>
                  <a:gd name="connsiteY53" fmla="*/ 531979 h 657226"/>
                  <a:gd name="connsiteX54" fmla="*/ 0 w 1304925"/>
                  <a:gd name="connsiteY54" fmla="*/ 15710 h 657226"/>
                  <a:gd name="connsiteX55" fmla="*/ 15705 w 1304925"/>
                  <a:gd name="connsiteY55" fmla="*/ 0 h 65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04925" h="657226">
                    <a:moveTo>
                      <a:pt x="362395" y="515938"/>
                    </a:moveTo>
                    <a:lnTo>
                      <a:pt x="978927" y="515938"/>
                    </a:lnTo>
                    <a:lnTo>
                      <a:pt x="976338" y="519741"/>
                    </a:lnTo>
                    <a:lnTo>
                      <a:pt x="970659" y="547688"/>
                    </a:lnTo>
                    <a:lnTo>
                      <a:pt x="780677" y="547688"/>
                    </a:lnTo>
                    <a:cubicBezTo>
                      <a:pt x="639016" y="547688"/>
                      <a:pt x="523588" y="547688"/>
                      <a:pt x="429535" y="547688"/>
                    </a:cubicBezTo>
                    <a:lnTo>
                      <a:pt x="370739" y="547688"/>
                    </a:lnTo>
                    <a:lnTo>
                      <a:pt x="365000" y="519741"/>
                    </a:lnTo>
                    <a:close/>
                    <a:moveTo>
                      <a:pt x="1089024" y="508000"/>
                    </a:moveTo>
                    <a:cubicBezTo>
                      <a:pt x="1056707" y="508000"/>
                      <a:pt x="1028699" y="534343"/>
                      <a:pt x="1028699" y="566382"/>
                    </a:cubicBezTo>
                    <a:cubicBezTo>
                      <a:pt x="1028699" y="599132"/>
                      <a:pt x="1056707" y="625475"/>
                      <a:pt x="1089024" y="625475"/>
                    </a:cubicBezTo>
                    <a:cubicBezTo>
                      <a:pt x="1122059" y="625475"/>
                      <a:pt x="1149349" y="599132"/>
                      <a:pt x="1149349" y="566382"/>
                    </a:cubicBezTo>
                    <a:cubicBezTo>
                      <a:pt x="1149349" y="534343"/>
                      <a:pt x="1122059" y="508000"/>
                      <a:pt x="1089024" y="508000"/>
                    </a:cubicBezTo>
                    <a:close/>
                    <a:moveTo>
                      <a:pt x="251975" y="508000"/>
                    </a:moveTo>
                    <a:cubicBezTo>
                      <a:pt x="219892" y="508000"/>
                      <a:pt x="192087" y="534343"/>
                      <a:pt x="192087" y="566382"/>
                    </a:cubicBezTo>
                    <a:cubicBezTo>
                      <a:pt x="192087" y="599132"/>
                      <a:pt x="219892" y="625475"/>
                      <a:pt x="251975" y="625475"/>
                    </a:cubicBezTo>
                    <a:cubicBezTo>
                      <a:pt x="284771" y="625475"/>
                      <a:pt x="311150" y="599132"/>
                      <a:pt x="311150" y="566382"/>
                    </a:cubicBezTo>
                    <a:cubicBezTo>
                      <a:pt x="311150" y="534343"/>
                      <a:pt x="284771" y="508000"/>
                      <a:pt x="251975" y="508000"/>
                    </a:cubicBezTo>
                    <a:close/>
                    <a:moveTo>
                      <a:pt x="1089025" y="476250"/>
                    </a:moveTo>
                    <a:cubicBezTo>
                      <a:pt x="1139000" y="476250"/>
                      <a:pt x="1179513" y="516763"/>
                      <a:pt x="1179513" y="566738"/>
                    </a:cubicBezTo>
                    <a:cubicBezTo>
                      <a:pt x="1179513" y="616713"/>
                      <a:pt x="1139000" y="657226"/>
                      <a:pt x="1089025" y="657226"/>
                    </a:cubicBezTo>
                    <a:cubicBezTo>
                      <a:pt x="1039050" y="657226"/>
                      <a:pt x="998537" y="616713"/>
                      <a:pt x="998537" y="566738"/>
                    </a:cubicBezTo>
                    <a:cubicBezTo>
                      <a:pt x="998537" y="516763"/>
                      <a:pt x="1039050" y="476250"/>
                      <a:pt x="1089025" y="476250"/>
                    </a:cubicBezTo>
                    <a:close/>
                    <a:moveTo>
                      <a:pt x="252412" y="476250"/>
                    </a:moveTo>
                    <a:cubicBezTo>
                      <a:pt x="302387" y="476250"/>
                      <a:pt x="342900" y="516763"/>
                      <a:pt x="342900" y="566738"/>
                    </a:cubicBezTo>
                    <a:cubicBezTo>
                      <a:pt x="342900" y="616713"/>
                      <a:pt x="302387" y="657226"/>
                      <a:pt x="252412" y="657226"/>
                    </a:cubicBezTo>
                    <a:cubicBezTo>
                      <a:pt x="202437" y="657226"/>
                      <a:pt x="161924" y="616713"/>
                      <a:pt x="161924" y="566738"/>
                    </a:cubicBezTo>
                    <a:cubicBezTo>
                      <a:pt x="161924" y="516763"/>
                      <a:pt x="202437" y="476250"/>
                      <a:pt x="252412" y="476250"/>
                    </a:cubicBezTo>
                    <a:close/>
                    <a:moveTo>
                      <a:pt x="15705" y="0"/>
                    </a:moveTo>
                    <a:cubicBezTo>
                      <a:pt x="1090055" y="0"/>
                      <a:pt x="1090055" y="0"/>
                      <a:pt x="1090055" y="0"/>
                    </a:cubicBezTo>
                    <a:cubicBezTo>
                      <a:pt x="1095052" y="0"/>
                      <a:pt x="1100049" y="2142"/>
                      <a:pt x="1102905" y="7141"/>
                    </a:cubicBezTo>
                    <a:cubicBezTo>
                      <a:pt x="1302070" y="313475"/>
                      <a:pt x="1302070" y="313475"/>
                      <a:pt x="1302070" y="313475"/>
                    </a:cubicBezTo>
                    <a:cubicBezTo>
                      <a:pt x="1304211" y="316331"/>
                      <a:pt x="1304925" y="319187"/>
                      <a:pt x="1304925" y="322758"/>
                    </a:cubicBezTo>
                    <a:cubicBezTo>
                      <a:pt x="1304925" y="531979"/>
                      <a:pt x="1304925" y="531979"/>
                      <a:pt x="1304925" y="531979"/>
                    </a:cubicBezTo>
                    <a:cubicBezTo>
                      <a:pt x="1304925" y="540548"/>
                      <a:pt x="1297787" y="547688"/>
                      <a:pt x="1289220" y="547688"/>
                    </a:cubicBezTo>
                    <a:lnTo>
                      <a:pt x="1207352" y="547688"/>
                    </a:lnTo>
                    <a:lnTo>
                      <a:pt x="1201613" y="519741"/>
                    </a:lnTo>
                    <a:lnTo>
                      <a:pt x="1199008" y="515938"/>
                    </a:lnTo>
                    <a:lnTo>
                      <a:pt x="1273176" y="515938"/>
                    </a:lnTo>
                    <a:lnTo>
                      <a:pt x="1273176" y="427470"/>
                    </a:lnTo>
                    <a:lnTo>
                      <a:pt x="1258888" y="433388"/>
                    </a:lnTo>
                    <a:cubicBezTo>
                      <a:pt x="1240476" y="433388"/>
                      <a:pt x="1225550" y="418462"/>
                      <a:pt x="1225550" y="400050"/>
                    </a:cubicBezTo>
                    <a:cubicBezTo>
                      <a:pt x="1225550" y="381638"/>
                      <a:pt x="1240476" y="366712"/>
                      <a:pt x="1258888" y="366712"/>
                    </a:cubicBezTo>
                    <a:lnTo>
                      <a:pt x="1273176" y="372630"/>
                    </a:lnTo>
                    <a:lnTo>
                      <a:pt x="1273176" y="327025"/>
                    </a:lnTo>
                    <a:lnTo>
                      <a:pt x="1081089" y="31750"/>
                    </a:lnTo>
                    <a:lnTo>
                      <a:pt x="30163" y="31750"/>
                    </a:lnTo>
                    <a:lnTo>
                      <a:pt x="30163" y="515938"/>
                    </a:lnTo>
                    <a:lnTo>
                      <a:pt x="142314" y="515938"/>
                    </a:lnTo>
                    <a:lnTo>
                      <a:pt x="139725" y="519741"/>
                    </a:lnTo>
                    <a:lnTo>
                      <a:pt x="134046" y="547688"/>
                    </a:lnTo>
                    <a:lnTo>
                      <a:pt x="122350" y="547688"/>
                    </a:lnTo>
                    <a:cubicBezTo>
                      <a:pt x="15705" y="547688"/>
                      <a:pt x="15705" y="547688"/>
                      <a:pt x="15705" y="547688"/>
                    </a:cubicBezTo>
                    <a:cubicBezTo>
                      <a:pt x="7139" y="547688"/>
                      <a:pt x="0" y="540548"/>
                      <a:pt x="0" y="531979"/>
                    </a:cubicBezTo>
                    <a:cubicBezTo>
                      <a:pt x="0" y="15710"/>
                      <a:pt x="0" y="15710"/>
                      <a:pt x="0" y="15710"/>
                    </a:cubicBezTo>
                    <a:cubicBezTo>
                      <a:pt x="0" y="7141"/>
                      <a:pt x="7139" y="0"/>
                      <a:pt x="15705" y="0"/>
                    </a:cubicBezTo>
                    <a:close/>
                  </a:path>
                </a:pathLst>
              </a:custGeom>
              <a:solidFill>
                <a:srgbClr val="2F1C4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83" name="Freeform 43">
                <a:extLst>
                  <a:ext uri="{FF2B5EF4-FFF2-40B4-BE49-F238E27FC236}">
                    <a16:creationId xmlns:a16="http://schemas.microsoft.com/office/drawing/2014/main" id="{9AC5E3D7-CD7D-479B-8CD1-8BA2D97CC280}"/>
                  </a:ext>
                </a:extLst>
              </p:cNvPr>
              <p:cNvSpPr>
                <a:spLocks/>
              </p:cNvSpPr>
              <p:nvPr/>
            </p:nvSpPr>
            <p:spPr bwMode="auto">
              <a:xfrm>
                <a:off x="5508625" y="3957638"/>
                <a:ext cx="1152525" cy="444501"/>
              </a:xfrm>
              <a:custGeom>
                <a:avLst/>
                <a:gdLst>
                  <a:gd name="connsiteX0" fmla="*/ 1025526 w 1152525"/>
                  <a:gd name="connsiteY0" fmla="*/ 377825 h 444501"/>
                  <a:gd name="connsiteX1" fmla="*/ 1058864 w 1152525"/>
                  <a:gd name="connsiteY1" fmla="*/ 411163 h 444501"/>
                  <a:gd name="connsiteX2" fmla="*/ 1025526 w 1152525"/>
                  <a:gd name="connsiteY2" fmla="*/ 444501 h 444501"/>
                  <a:gd name="connsiteX3" fmla="*/ 992188 w 1152525"/>
                  <a:gd name="connsiteY3" fmla="*/ 411163 h 444501"/>
                  <a:gd name="connsiteX4" fmla="*/ 1025526 w 1152525"/>
                  <a:gd name="connsiteY4" fmla="*/ 377825 h 444501"/>
                  <a:gd name="connsiteX5" fmla="*/ 188913 w 1152525"/>
                  <a:gd name="connsiteY5" fmla="*/ 377825 h 444501"/>
                  <a:gd name="connsiteX6" fmla="*/ 222251 w 1152525"/>
                  <a:gd name="connsiteY6" fmla="*/ 411163 h 444501"/>
                  <a:gd name="connsiteX7" fmla="*/ 188913 w 1152525"/>
                  <a:gd name="connsiteY7" fmla="*/ 444501 h 444501"/>
                  <a:gd name="connsiteX8" fmla="*/ 155575 w 1152525"/>
                  <a:gd name="connsiteY8" fmla="*/ 411163 h 444501"/>
                  <a:gd name="connsiteX9" fmla="*/ 188913 w 1152525"/>
                  <a:gd name="connsiteY9" fmla="*/ 377825 h 444501"/>
                  <a:gd name="connsiteX10" fmla="*/ 920836 w 1152525"/>
                  <a:gd name="connsiteY10" fmla="*/ 0 h 444501"/>
                  <a:gd name="connsiteX11" fmla="*/ 1061709 w 1152525"/>
                  <a:gd name="connsiteY11" fmla="*/ 0 h 444501"/>
                  <a:gd name="connsiteX12" fmla="*/ 1076011 w 1152525"/>
                  <a:gd name="connsiteY12" fmla="*/ 11331 h 444501"/>
                  <a:gd name="connsiteX13" fmla="*/ 1151810 w 1152525"/>
                  <a:gd name="connsiteY13" fmla="*/ 132425 h 444501"/>
                  <a:gd name="connsiteX14" fmla="*/ 1152525 w 1152525"/>
                  <a:gd name="connsiteY14" fmla="*/ 135257 h 444501"/>
                  <a:gd name="connsiteX15" fmla="*/ 1140369 w 1152525"/>
                  <a:gd name="connsiteY15" fmla="*/ 144463 h 444501"/>
                  <a:gd name="connsiteX16" fmla="*/ 920836 w 1152525"/>
                  <a:gd name="connsiteY16" fmla="*/ 144463 h 444501"/>
                  <a:gd name="connsiteX17" fmla="*/ 914400 w 1152525"/>
                  <a:gd name="connsiteY17" fmla="*/ 138798 h 444501"/>
                  <a:gd name="connsiteX18" fmla="*/ 914400 w 1152525"/>
                  <a:gd name="connsiteY18" fmla="*/ 5665 h 444501"/>
                  <a:gd name="connsiteX19" fmla="*/ 920836 w 1152525"/>
                  <a:gd name="connsiteY19" fmla="*/ 0 h 444501"/>
                  <a:gd name="connsiteX20" fmla="*/ 597476 w 1152525"/>
                  <a:gd name="connsiteY20" fmla="*/ 0 h 444501"/>
                  <a:gd name="connsiteX21" fmla="*/ 825640 w 1152525"/>
                  <a:gd name="connsiteY21" fmla="*/ 0 h 444501"/>
                  <a:gd name="connsiteX22" fmla="*/ 841375 w 1152525"/>
                  <a:gd name="connsiteY22" fmla="*/ 15579 h 444501"/>
                  <a:gd name="connsiteX23" fmla="*/ 841375 w 1152525"/>
                  <a:gd name="connsiteY23" fmla="*/ 128884 h 444501"/>
                  <a:gd name="connsiteX24" fmla="*/ 825640 w 1152525"/>
                  <a:gd name="connsiteY24" fmla="*/ 144463 h 444501"/>
                  <a:gd name="connsiteX25" fmla="*/ 597476 w 1152525"/>
                  <a:gd name="connsiteY25" fmla="*/ 144463 h 444501"/>
                  <a:gd name="connsiteX26" fmla="*/ 581025 w 1152525"/>
                  <a:gd name="connsiteY26" fmla="*/ 128884 h 444501"/>
                  <a:gd name="connsiteX27" fmla="*/ 581025 w 1152525"/>
                  <a:gd name="connsiteY27" fmla="*/ 15579 h 444501"/>
                  <a:gd name="connsiteX28" fmla="*/ 597476 w 1152525"/>
                  <a:gd name="connsiteY28" fmla="*/ 0 h 444501"/>
                  <a:gd name="connsiteX29" fmla="*/ 307773 w 1152525"/>
                  <a:gd name="connsiteY29" fmla="*/ 0 h 444501"/>
                  <a:gd name="connsiteX30" fmla="*/ 533603 w 1152525"/>
                  <a:gd name="connsiteY30" fmla="*/ 0 h 444501"/>
                  <a:gd name="connsiteX31" fmla="*/ 549275 w 1152525"/>
                  <a:gd name="connsiteY31" fmla="*/ 15579 h 444501"/>
                  <a:gd name="connsiteX32" fmla="*/ 549275 w 1152525"/>
                  <a:gd name="connsiteY32" fmla="*/ 128884 h 444501"/>
                  <a:gd name="connsiteX33" fmla="*/ 533603 w 1152525"/>
                  <a:gd name="connsiteY33" fmla="*/ 144463 h 444501"/>
                  <a:gd name="connsiteX34" fmla="*/ 307773 w 1152525"/>
                  <a:gd name="connsiteY34" fmla="*/ 144463 h 444501"/>
                  <a:gd name="connsiteX35" fmla="*/ 292100 w 1152525"/>
                  <a:gd name="connsiteY35" fmla="*/ 128884 h 444501"/>
                  <a:gd name="connsiteX36" fmla="*/ 292100 w 1152525"/>
                  <a:gd name="connsiteY36" fmla="*/ 15579 h 444501"/>
                  <a:gd name="connsiteX37" fmla="*/ 307773 w 1152525"/>
                  <a:gd name="connsiteY37" fmla="*/ 0 h 444501"/>
                  <a:gd name="connsiteX38" fmla="*/ 0 w 1152525"/>
                  <a:gd name="connsiteY38" fmla="*/ 0 h 444501"/>
                  <a:gd name="connsiteX39" fmla="*/ 244615 w 1152525"/>
                  <a:gd name="connsiteY39" fmla="*/ 0 h 444501"/>
                  <a:gd name="connsiteX40" fmla="*/ 260350 w 1152525"/>
                  <a:gd name="connsiteY40" fmla="*/ 15579 h 444501"/>
                  <a:gd name="connsiteX41" fmla="*/ 260350 w 1152525"/>
                  <a:gd name="connsiteY41" fmla="*/ 128884 h 444501"/>
                  <a:gd name="connsiteX42" fmla="*/ 244615 w 1152525"/>
                  <a:gd name="connsiteY42" fmla="*/ 144463 h 444501"/>
                  <a:gd name="connsiteX43" fmla="*/ 0 w 1152525"/>
                  <a:gd name="connsiteY43" fmla="*/ 144463 h 444501"/>
                  <a:gd name="connsiteX44" fmla="*/ 0 w 1152525"/>
                  <a:gd name="connsiteY44" fmla="*/ 0 h 44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52525" h="444501">
                    <a:moveTo>
                      <a:pt x="1025526" y="377825"/>
                    </a:moveTo>
                    <a:cubicBezTo>
                      <a:pt x="1043938" y="377825"/>
                      <a:pt x="1058864" y="392751"/>
                      <a:pt x="1058864" y="411163"/>
                    </a:cubicBezTo>
                    <a:cubicBezTo>
                      <a:pt x="1058864" y="429575"/>
                      <a:pt x="1043938" y="444501"/>
                      <a:pt x="1025526" y="444501"/>
                    </a:cubicBezTo>
                    <a:cubicBezTo>
                      <a:pt x="1007114" y="444501"/>
                      <a:pt x="992188" y="429575"/>
                      <a:pt x="992188" y="411163"/>
                    </a:cubicBezTo>
                    <a:cubicBezTo>
                      <a:pt x="992188" y="392751"/>
                      <a:pt x="1007114" y="377825"/>
                      <a:pt x="1025526" y="377825"/>
                    </a:cubicBezTo>
                    <a:close/>
                    <a:moveTo>
                      <a:pt x="188913" y="377825"/>
                    </a:moveTo>
                    <a:cubicBezTo>
                      <a:pt x="207325" y="377825"/>
                      <a:pt x="222251" y="392751"/>
                      <a:pt x="222251" y="411163"/>
                    </a:cubicBezTo>
                    <a:cubicBezTo>
                      <a:pt x="222251" y="429575"/>
                      <a:pt x="207325" y="444501"/>
                      <a:pt x="188913" y="444501"/>
                    </a:cubicBezTo>
                    <a:cubicBezTo>
                      <a:pt x="170501" y="444501"/>
                      <a:pt x="155575" y="429575"/>
                      <a:pt x="155575" y="411163"/>
                    </a:cubicBezTo>
                    <a:cubicBezTo>
                      <a:pt x="155575" y="392751"/>
                      <a:pt x="170501" y="377825"/>
                      <a:pt x="188913" y="377825"/>
                    </a:cubicBezTo>
                    <a:close/>
                    <a:moveTo>
                      <a:pt x="920836" y="0"/>
                    </a:moveTo>
                    <a:cubicBezTo>
                      <a:pt x="1061709" y="0"/>
                      <a:pt x="1061709" y="0"/>
                      <a:pt x="1061709" y="0"/>
                    </a:cubicBezTo>
                    <a:cubicBezTo>
                      <a:pt x="1068860" y="0"/>
                      <a:pt x="1071005" y="4957"/>
                      <a:pt x="1076011" y="11331"/>
                    </a:cubicBezTo>
                    <a:cubicBezTo>
                      <a:pt x="1151810" y="132425"/>
                      <a:pt x="1151810" y="132425"/>
                      <a:pt x="1151810" y="132425"/>
                    </a:cubicBezTo>
                    <a:cubicBezTo>
                      <a:pt x="1152525" y="133133"/>
                      <a:pt x="1152525" y="134549"/>
                      <a:pt x="1152525" y="135257"/>
                    </a:cubicBezTo>
                    <a:cubicBezTo>
                      <a:pt x="1151095" y="140214"/>
                      <a:pt x="1146089" y="144463"/>
                      <a:pt x="1140369" y="144463"/>
                    </a:cubicBezTo>
                    <a:cubicBezTo>
                      <a:pt x="920836" y="144463"/>
                      <a:pt x="920836" y="144463"/>
                      <a:pt x="920836" y="144463"/>
                    </a:cubicBezTo>
                    <a:cubicBezTo>
                      <a:pt x="917261" y="144463"/>
                      <a:pt x="914400" y="141631"/>
                      <a:pt x="914400" y="138798"/>
                    </a:cubicBezTo>
                    <a:cubicBezTo>
                      <a:pt x="914400" y="5665"/>
                      <a:pt x="914400" y="5665"/>
                      <a:pt x="914400" y="5665"/>
                    </a:cubicBezTo>
                    <a:cubicBezTo>
                      <a:pt x="914400" y="2833"/>
                      <a:pt x="917261" y="0"/>
                      <a:pt x="920836" y="0"/>
                    </a:cubicBezTo>
                    <a:close/>
                    <a:moveTo>
                      <a:pt x="597476" y="0"/>
                    </a:moveTo>
                    <a:cubicBezTo>
                      <a:pt x="597476" y="0"/>
                      <a:pt x="597476" y="0"/>
                      <a:pt x="825640" y="0"/>
                    </a:cubicBezTo>
                    <a:cubicBezTo>
                      <a:pt x="834938" y="0"/>
                      <a:pt x="841375" y="7082"/>
                      <a:pt x="841375" y="15579"/>
                    </a:cubicBezTo>
                    <a:cubicBezTo>
                      <a:pt x="841375" y="15579"/>
                      <a:pt x="841375" y="15579"/>
                      <a:pt x="841375" y="128884"/>
                    </a:cubicBezTo>
                    <a:cubicBezTo>
                      <a:pt x="841375" y="137382"/>
                      <a:pt x="834938" y="144463"/>
                      <a:pt x="825640" y="144463"/>
                    </a:cubicBezTo>
                    <a:cubicBezTo>
                      <a:pt x="825640" y="144463"/>
                      <a:pt x="825640" y="144463"/>
                      <a:pt x="597476" y="144463"/>
                    </a:cubicBezTo>
                    <a:cubicBezTo>
                      <a:pt x="588178" y="144463"/>
                      <a:pt x="581025" y="137382"/>
                      <a:pt x="581025" y="128884"/>
                    </a:cubicBezTo>
                    <a:cubicBezTo>
                      <a:pt x="581025" y="128884"/>
                      <a:pt x="581025" y="128884"/>
                      <a:pt x="581025" y="15579"/>
                    </a:cubicBezTo>
                    <a:cubicBezTo>
                      <a:pt x="581025" y="7082"/>
                      <a:pt x="588178" y="0"/>
                      <a:pt x="597476" y="0"/>
                    </a:cubicBezTo>
                    <a:close/>
                    <a:moveTo>
                      <a:pt x="307773" y="0"/>
                    </a:moveTo>
                    <a:cubicBezTo>
                      <a:pt x="307773" y="0"/>
                      <a:pt x="307773" y="0"/>
                      <a:pt x="533603" y="0"/>
                    </a:cubicBezTo>
                    <a:cubicBezTo>
                      <a:pt x="542864" y="0"/>
                      <a:pt x="549275" y="7082"/>
                      <a:pt x="549275" y="15579"/>
                    </a:cubicBezTo>
                    <a:cubicBezTo>
                      <a:pt x="549275" y="15579"/>
                      <a:pt x="549275" y="15579"/>
                      <a:pt x="549275" y="128884"/>
                    </a:cubicBezTo>
                    <a:cubicBezTo>
                      <a:pt x="549275" y="137382"/>
                      <a:pt x="542864" y="144463"/>
                      <a:pt x="533603" y="144463"/>
                    </a:cubicBezTo>
                    <a:cubicBezTo>
                      <a:pt x="533603" y="144463"/>
                      <a:pt x="533603" y="144463"/>
                      <a:pt x="307773" y="144463"/>
                    </a:cubicBezTo>
                    <a:cubicBezTo>
                      <a:pt x="299224" y="144463"/>
                      <a:pt x="292100" y="137382"/>
                      <a:pt x="292100" y="128884"/>
                    </a:cubicBezTo>
                    <a:cubicBezTo>
                      <a:pt x="292100" y="128884"/>
                      <a:pt x="292100" y="128884"/>
                      <a:pt x="292100" y="15579"/>
                    </a:cubicBezTo>
                    <a:cubicBezTo>
                      <a:pt x="292100" y="7082"/>
                      <a:pt x="299224" y="0"/>
                      <a:pt x="307773" y="0"/>
                    </a:cubicBezTo>
                    <a:close/>
                    <a:moveTo>
                      <a:pt x="0" y="0"/>
                    </a:moveTo>
                    <a:cubicBezTo>
                      <a:pt x="0" y="0"/>
                      <a:pt x="0" y="0"/>
                      <a:pt x="244615" y="0"/>
                    </a:cubicBezTo>
                    <a:cubicBezTo>
                      <a:pt x="253913" y="0"/>
                      <a:pt x="260350" y="7082"/>
                      <a:pt x="260350" y="15579"/>
                    </a:cubicBezTo>
                    <a:cubicBezTo>
                      <a:pt x="260350" y="15579"/>
                      <a:pt x="260350" y="15579"/>
                      <a:pt x="260350" y="128884"/>
                    </a:cubicBezTo>
                    <a:cubicBezTo>
                      <a:pt x="260350" y="137382"/>
                      <a:pt x="253913" y="144463"/>
                      <a:pt x="244615" y="144463"/>
                    </a:cubicBezTo>
                    <a:cubicBezTo>
                      <a:pt x="244615" y="144463"/>
                      <a:pt x="244615" y="144463"/>
                      <a:pt x="0" y="144463"/>
                    </a:cubicBezTo>
                    <a:cubicBezTo>
                      <a:pt x="0" y="144463"/>
                      <a:pt x="0" y="144463"/>
                      <a:pt x="0" y="0"/>
                    </a:cubicBezTo>
                    <a:close/>
                  </a:path>
                </a:pathLst>
              </a:custGeom>
              <a:solidFill>
                <a:srgbClr val="523178"/>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4" name="bcgIcons_Cardiology ">
            <a:extLst>
              <a:ext uri="{FF2B5EF4-FFF2-40B4-BE49-F238E27FC236}">
                <a16:creationId xmlns:a16="http://schemas.microsoft.com/office/drawing/2014/main" id="{5B104C71-867B-4FF0-9CDC-4259B778CB7F}"/>
              </a:ext>
            </a:extLst>
          </p:cNvPr>
          <p:cNvGrpSpPr>
            <a:grpSpLocks noChangeAspect="1"/>
          </p:cNvGrpSpPr>
          <p:nvPr/>
        </p:nvGrpSpPr>
        <p:grpSpPr>
          <a:xfrm>
            <a:off x="9760188" y="445504"/>
            <a:ext cx="1275345" cy="1275345"/>
            <a:chOff x="5273675" y="2606675"/>
            <a:chExt cx="1644650" cy="1644650"/>
          </a:xfrm>
        </p:grpSpPr>
        <p:sp>
          <p:nvSpPr>
            <p:cNvPr id="85" name="AutoShape 3">
              <a:extLst>
                <a:ext uri="{FF2B5EF4-FFF2-40B4-BE49-F238E27FC236}">
                  <a16:creationId xmlns:a16="http://schemas.microsoft.com/office/drawing/2014/main" id="{BD2B3CA9-8D09-4A1F-8791-57F0B6051F2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6" name="Group 85">
              <a:extLst>
                <a:ext uri="{FF2B5EF4-FFF2-40B4-BE49-F238E27FC236}">
                  <a16:creationId xmlns:a16="http://schemas.microsoft.com/office/drawing/2014/main" id="{0DB1752A-1AAF-4CA7-BD96-7A617E388293}"/>
                </a:ext>
              </a:extLst>
            </p:cNvPr>
            <p:cNvGrpSpPr/>
            <p:nvPr/>
          </p:nvGrpSpPr>
          <p:grpSpPr>
            <a:xfrm>
              <a:off x="5546725" y="2976563"/>
              <a:ext cx="1098550" cy="906463"/>
              <a:chOff x="5546725" y="2976563"/>
              <a:chExt cx="1098550" cy="906463"/>
            </a:xfrm>
          </p:grpSpPr>
          <p:sp>
            <p:nvSpPr>
              <p:cNvPr id="87" name="Freeform 10">
                <a:extLst>
                  <a:ext uri="{FF2B5EF4-FFF2-40B4-BE49-F238E27FC236}">
                    <a16:creationId xmlns:a16="http://schemas.microsoft.com/office/drawing/2014/main" id="{D36807E2-7B62-46BD-A12C-3136C6069219}"/>
                  </a:ext>
                </a:extLst>
              </p:cNvPr>
              <p:cNvSpPr>
                <a:spLocks/>
              </p:cNvSpPr>
              <p:nvPr/>
            </p:nvSpPr>
            <p:spPr bwMode="auto">
              <a:xfrm>
                <a:off x="5610225" y="3040063"/>
                <a:ext cx="971550" cy="773113"/>
              </a:xfrm>
              <a:custGeom>
                <a:avLst/>
                <a:gdLst>
                  <a:gd name="T0" fmla="*/ 1362 w 1362"/>
                  <a:gd name="T1" fmla="*/ 330 h 1083"/>
                  <a:gd name="T2" fmla="*/ 1362 w 1362"/>
                  <a:gd name="T3" fmla="*/ 319 h 1083"/>
                  <a:gd name="T4" fmla="*/ 1074 w 1362"/>
                  <a:gd name="T5" fmla="*/ 2 h 1083"/>
                  <a:gd name="T6" fmla="*/ 1073 w 1362"/>
                  <a:gd name="T7" fmla="*/ 2 h 1083"/>
                  <a:gd name="T8" fmla="*/ 1072 w 1362"/>
                  <a:gd name="T9" fmla="*/ 2 h 1083"/>
                  <a:gd name="T10" fmla="*/ 1035 w 1362"/>
                  <a:gd name="T11" fmla="*/ 0 h 1083"/>
                  <a:gd name="T12" fmla="*/ 989 w 1362"/>
                  <a:gd name="T13" fmla="*/ 4 h 1083"/>
                  <a:gd name="T14" fmla="*/ 988 w 1362"/>
                  <a:gd name="T15" fmla="*/ 4 h 1083"/>
                  <a:gd name="T16" fmla="*/ 987 w 1362"/>
                  <a:gd name="T17" fmla="*/ 4 h 1083"/>
                  <a:gd name="T18" fmla="*/ 938 w 1362"/>
                  <a:gd name="T19" fmla="*/ 16 h 1083"/>
                  <a:gd name="T20" fmla="*/ 927 w 1362"/>
                  <a:gd name="T21" fmla="*/ 20 h 1083"/>
                  <a:gd name="T22" fmla="*/ 820 w 1362"/>
                  <a:gd name="T23" fmla="*/ 89 h 1083"/>
                  <a:gd name="T24" fmla="*/ 820 w 1362"/>
                  <a:gd name="T25" fmla="*/ 89 h 1083"/>
                  <a:gd name="T26" fmla="*/ 819 w 1362"/>
                  <a:gd name="T27" fmla="*/ 90 h 1083"/>
                  <a:gd name="T28" fmla="*/ 783 w 1362"/>
                  <a:gd name="T29" fmla="*/ 130 h 1083"/>
                  <a:gd name="T30" fmla="*/ 755 w 1362"/>
                  <a:gd name="T31" fmla="*/ 168 h 1083"/>
                  <a:gd name="T32" fmla="*/ 681 w 1362"/>
                  <a:gd name="T33" fmla="*/ 282 h 1083"/>
                  <a:gd name="T34" fmla="*/ 607 w 1362"/>
                  <a:gd name="T35" fmla="*/ 168 h 1083"/>
                  <a:gd name="T36" fmla="*/ 579 w 1362"/>
                  <a:gd name="T37" fmla="*/ 130 h 1083"/>
                  <a:gd name="T38" fmla="*/ 543 w 1362"/>
                  <a:gd name="T39" fmla="*/ 90 h 1083"/>
                  <a:gd name="T40" fmla="*/ 542 w 1362"/>
                  <a:gd name="T41" fmla="*/ 89 h 1083"/>
                  <a:gd name="T42" fmla="*/ 542 w 1362"/>
                  <a:gd name="T43" fmla="*/ 89 h 1083"/>
                  <a:gd name="T44" fmla="*/ 435 w 1362"/>
                  <a:gd name="T45" fmla="*/ 20 h 1083"/>
                  <a:gd name="T46" fmla="*/ 423 w 1362"/>
                  <a:gd name="T47" fmla="*/ 16 h 1083"/>
                  <a:gd name="T48" fmla="*/ 375 w 1362"/>
                  <a:gd name="T49" fmla="*/ 4 h 1083"/>
                  <a:gd name="T50" fmla="*/ 374 w 1362"/>
                  <a:gd name="T51" fmla="*/ 4 h 1083"/>
                  <a:gd name="T52" fmla="*/ 373 w 1362"/>
                  <a:gd name="T53" fmla="*/ 4 h 1083"/>
                  <a:gd name="T54" fmla="*/ 327 w 1362"/>
                  <a:gd name="T55" fmla="*/ 0 h 1083"/>
                  <a:gd name="T56" fmla="*/ 290 w 1362"/>
                  <a:gd name="T57" fmla="*/ 2 h 1083"/>
                  <a:gd name="T58" fmla="*/ 289 w 1362"/>
                  <a:gd name="T59" fmla="*/ 2 h 1083"/>
                  <a:gd name="T60" fmla="*/ 288 w 1362"/>
                  <a:gd name="T61" fmla="*/ 2 h 1083"/>
                  <a:gd name="T62" fmla="*/ 0 w 1362"/>
                  <a:gd name="T63" fmla="*/ 319 h 1083"/>
                  <a:gd name="T64" fmla="*/ 0 w 1362"/>
                  <a:gd name="T65" fmla="*/ 325 h 1083"/>
                  <a:gd name="T66" fmla="*/ 0 w 1362"/>
                  <a:gd name="T67" fmla="*/ 330 h 1083"/>
                  <a:gd name="T68" fmla="*/ 0 w 1362"/>
                  <a:gd name="T69" fmla="*/ 330 h 1083"/>
                  <a:gd name="T70" fmla="*/ 0 w 1362"/>
                  <a:gd name="T71" fmla="*/ 338 h 1083"/>
                  <a:gd name="T72" fmla="*/ 0 w 1362"/>
                  <a:gd name="T73" fmla="*/ 346 h 1083"/>
                  <a:gd name="T74" fmla="*/ 0 w 1362"/>
                  <a:gd name="T75" fmla="*/ 355 h 1083"/>
                  <a:gd name="T76" fmla="*/ 25 w 1362"/>
                  <a:gd name="T77" fmla="*/ 475 h 1083"/>
                  <a:gd name="T78" fmla="*/ 316 w 1362"/>
                  <a:gd name="T79" fmla="*/ 524 h 1083"/>
                  <a:gd name="T80" fmla="*/ 424 w 1362"/>
                  <a:gd name="T81" fmla="*/ 342 h 1083"/>
                  <a:gd name="T82" fmla="*/ 573 w 1362"/>
                  <a:gd name="T83" fmla="*/ 656 h 1083"/>
                  <a:gd name="T84" fmla="*/ 666 w 1362"/>
                  <a:gd name="T85" fmla="*/ 524 h 1083"/>
                  <a:gd name="T86" fmla="*/ 901 w 1362"/>
                  <a:gd name="T87" fmla="*/ 456 h 1083"/>
                  <a:gd name="T88" fmla="*/ 901 w 1362"/>
                  <a:gd name="T89" fmla="*/ 636 h 1083"/>
                  <a:gd name="T90" fmla="*/ 678 w 1362"/>
                  <a:gd name="T91" fmla="*/ 568 h 1083"/>
                  <a:gd name="T92" fmla="*/ 570 w 1362"/>
                  <a:gd name="T93" fmla="*/ 726 h 1083"/>
                  <a:gd name="T94" fmla="*/ 550 w 1362"/>
                  <a:gd name="T95" fmla="*/ 713 h 1083"/>
                  <a:gd name="T96" fmla="*/ 350 w 1362"/>
                  <a:gd name="T97" fmla="*/ 556 h 1083"/>
                  <a:gd name="T98" fmla="*/ 67 w 1362"/>
                  <a:gd name="T99" fmla="*/ 568 h 1083"/>
                  <a:gd name="T100" fmla="*/ 359 w 1362"/>
                  <a:gd name="T101" fmla="*/ 882 h 1083"/>
                  <a:gd name="T102" fmla="*/ 675 w 1362"/>
                  <a:gd name="T103" fmla="*/ 1080 h 1083"/>
                  <a:gd name="T104" fmla="*/ 681 w 1362"/>
                  <a:gd name="T105" fmla="*/ 1083 h 1083"/>
                  <a:gd name="T106" fmla="*/ 687 w 1362"/>
                  <a:gd name="T107" fmla="*/ 1080 h 1083"/>
                  <a:gd name="T108" fmla="*/ 1003 w 1362"/>
                  <a:gd name="T109" fmla="*/ 882 h 1083"/>
                  <a:gd name="T110" fmla="*/ 1337 w 1362"/>
                  <a:gd name="T111" fmla="*/ 475 h 1083"/>
                  <a:gd name="T112" fmla="*/ 1362 w 1362"/>
                  <a:gd name="T113" fmla="*/ 355 h 1083"/>
                  <a:gd name="T114" fmla="*/ 1362 w 1362"/>
                  <a:gd name="T115" fmla="*/ 346 h 1083"/>
                  <a:gd name="T116" fmla="*/ 1362 w 1362"/>
                  <a:gd name="T117" fmla="*/ 338 h 1083"/>
                  <a:gd name="T118" fmla="*/ 1362 w 1362"/>
                  <a:gd name="T119" fmla="*/ 330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2" h="1083">
                    <a:moveTo>
                      <a:pt x="1362" y="330"/>
                    </a:moveTo>
                    <a:cubicBezTo>
                      <a:pt x="1362" y="330"/>
                      <a:pt x="1362" y="330"/>
                      <a:pt x="1362" y="330"/>
                    </a:cubicBezTo>
                    <a:cubicBezTo>
                      <a:pt x="1362" y="329"/>
                      <a:pt x="1362" y="329"/>
                      <a:pt x="1362" y="329"/>
                    </a:cubicBezTo>
                    <a:cubicBezTo>
                      <a:pt x="1362" y="319"/>
                      <a:pt x="1362" y="319"/>
                      <a:pt x="1362" y="319"/>
                    </a:cubicBezTo>
                    <a:cubicBezTo>
                      <a:pt x="1362" y="239"/>
                      <a:pt x="1333" y="163"/>
                      <a:pt x="1279" y="105"/>
                    </a:cubicBezTo>
                    <a:cubicBezTo>
                      <a:pt x="1225" y="46"/>
                      <a:pt x="1152" y="10"/>
                      <a:pt x="1074" y="2"/>
                    </a:cubicBezTo>
                    <a:cubicBezTo>
                      <a:pt x="1073" y="2"/>
                      <a:pt x="1073" y="2"/>
                      <a:pt x="1073" y="2"/>
                    </a:cubicBezTo>
                    <a:cubicBezTo>
                      <a:pt x="1073" y="2"/>
                      <a:pt x="1073" y="2"/>
                      <a:pt x="1073" y="2"/>
                    </a:cubicBezTo>
                    <a:cubicBezTo>
                      <a:pt x="1072" y="2"/>
                      <a:pt x="1072" y="2"/>
                      <a:pt x="1072" y="2"/>
                    </a:cubicBezTo>
                    <a:cubicBezTo>
                      <a:pt x="1072" y="2"/>
                      <a:pt x="1072" y="2"/>
                      <a:pt x="1072" y="2"/>
                    </a:cubicBezTo>
                    <a:cubicBezTo>
                      <a:pt x="1072" y="2"/>
                      <a:pt x="1072" y="2"/>
                      <a:pt x="1072" y="2"/>
                    </a:cubicBezTo>
                    <a:cubicBezTo>
                      <a:pt x="1060" y="1"/>
                      <a:pt x="1047" y="0"/>
                      <a:pt x="1035" y="0"/>
                    </a:cubicBezTo>
                    <a:cubicBezTo>
                      <a:pt x="1020" y="0"/>
                      <a:pt x="1004" y="1"/>
                      <a:pt x="989" y="4"/>
                    </a:cubicBezTo>
                    <a:cubicBezTo>
                      <a:pt x="989" y="4"/>
                      <a:pt x="989" y="4"/>
                      <a:pt x="989" y="4"/>
                    </a:cubicBezTo>
                    <a:cubicBezTo>
                      <a:pt x="989" y="4"/>
                      <a:pt x="989" y="4"/>
                      <a:pt x="989" y="4"/>
                    </a:cubicBezTo>
                    <a:cubicBezTo>
                      <a:pt x="988" y="4"/>
                      <a:pt x="988" y="4"/>
                      <a:pt x="988" y="4"/>
                    </a:cubicBezTo>
                    <a:cubicBezTo>
                      <a:pt x="988" y="4"/>
                      <a:pt x="988" y="4"/>
                      <a:pt x="988" y="4"/>
                    </a:cubicBezTo>
                    <a:cubicBezTo>
                      <a:pt x="987" y="4"/>
                      <a:pt x="987" y="4"/>
                      <a:pt x="987" y="4"/>
                    </a:cubicBezTo>
                    <a:cubicBezTo>
                      <a:pt x="972" y="6"/>
                      <a:pt x="956" y="10"/>
                      <a:pt x="940" y="15"/>
                    </a:cubicBezTo>
                    <a:cubicBezTo>
                      <a:pt x="938" y="16"/>
                      <a:pt x="938" y="16"/>
                      <a:pt x="938" y="16"/>
                    </a:cubicBezTo>
                    <a:cubicBezTo>
                      <a:pt x="935" y="18"/>
                      <a:pt x="935" y="18"/>
                      <a:pt x="935" y="18"/>
                    </a:cubicBezTo>
                    <a:cubicBezTo>
                      <a:pt x="927" y="20"/>
                      <a:pt x="927" y="20"/>
                      <a:pt x="927" y="20"/>
                    </a:cubicBezTo>
                    <a:cubicBezTo>
                      <a:pt x="925" y="21"/>
                      <a:pt x="925" y="21"/>
                      <a:pt x="925" y="21"/>
                    </a:cubicBezTo>
                    <a:cubicBezTo>
                      <a:pt x="885" y="37"/>
                      <a:pt x="850" y="59"/>
                      <a:pt x="820" y="89"/>
                    </a:cubicBezTo>
                    <a:cubicBezTo>
                      <a:pt x="820" y="89"/>
                      <a:pt x="820" y="89"/>
                      <a:pt x="820" y="89"/>
                    </a:cubicBezTo>
                    <a:cubicBezTo>
                      <a:pt x="820" y="89"/>
                      <a:pt x="820" y="89"/>
                      <a:pt x="820" y="89"/>
                    </a:cubicBezTo>
                    <a:cubicBezTo>
                      <a:pt x="819" y="90"/>
                      <a:pt x="819" y="90"/>
                      <a:pt x="819" y="90"/>
                    </a:cubicBezTo>
                    <a:cubicBezTo>
                      <a:pt x="819" y="90"/>
                      <a:pt x="819" y="90"/>
                      <a:pt x="819" y="90"/>
                    </a:cubicBezTo>
                    <a:cubicBezTo>
                      <a:pt x="819" y="90"/>
                      <a:pt x="819" y="90"/>
                      <a:pt x="819" y="90"/>
                    </a:cubicBezTo>
                    <a:cubicBezTo>
                      <a:pt x="806" y="102"/>
                      <a:pt x="794" y="116"/>
                      <a:pt x="783" y="130"/>
                    </a:cubicBezTo>
                    <a:cubicBezTo>
                      <a:pt x="781" y="133"/>
                      <a:pt x="778" y="137"/>
                      <a:pt x="772" y="144"/>
                    </a:cubicBezTo>
                    <a:cubicBezTo>
                      <a:pt x="768" y="149"/>
                      <a:pt x="757" y="164"/>
                      <a:pt x="755" y="168"/>
                    </a:cubicBezTo>
                    <a:cubicBezTo>
                      <a:pt x="718" y="225"/>
                      <a:pt x="718" y="225"/>
                      <a:pt x="718" y="225"/>
                    </a:cubicBezTo>
                    <a:cubicBezTo>
                      <a:pt x="681" y="282"/>
                      <a:pt x="681" y="282"/>
                      <a:pt x="681" y="282"/>
                    </a:cubicBezTo>
                    <a:cubicBezTo>
                      <a:pt x="644" y="225"/>
                      <a:pt x="644" y="225"/>
                      <a:pt x="644" y="225"/>
                    </a:cubicBezTo>
                    <a:cubicBezTo>
                      <a:pt x="607" y="168"/>
                      <a:pt x="607" y="168"/>
                      <a:pt x="607" y="168"/>
                    </a:cubicBezTo>
                    <a:cubicBezTo>
                      <a:pt x="605" y="164"/>
                      <a:pt x="594" y="149"/>
                      <a:pt x="590" y="144"/>
                    </a:cubicBezTo>
                    <a:cubicBezTo>
                      <a:pt x="584" y="137"/>
                      <a:pt x="581" y="133"/>
                      <a:pt x="579" y="130"/>
                    </a:cubicBezTo>
                    <a:cubicBezTo>
                      <a:pt x="568" y="116"/>
                      <a:pt x="556" y="102"/>
                      <a:pt x="543" y="90"/>
                    </a:cubicBezTo>
                    <a:cubicBezTo>
                      <a:pt x="543" y="90"/>
                      <a:pt x="543" y="90"/>
                      <a:pt x="543" y="90"/>
                    </a:cubicBezTo>
                    <a:cubicBezTo>
                      <a:pt x="543" y="90"/>
                      <a:pt x="543" y="90"/>
                      <a:pt x="543" y="90"/>
                    </a:cubicBezTo>
                    <a:cubicBezTo>
                      <a:pt x="542" y="89"/>
                      <a:pt x="542" y="89"/>
                      <a:pt x="542" y="89"/>
                    </a:cubicBezTo>
                    <a:cubicBezTo>
                      <a:pt x="542" y="89"/>
                      <a:pt x="542" y="89"/>
                      <a:pt x="542" y="89"/>
                    </a:cubicBezTo>
                    <a:cubicBezTo>
                      <a:pt x="542" y="89"/>
                      <a:pt x="542" y="89"/>
                      <a:pt x="542" y="89"/>
                    </a:cubicBezTo>
                    <a:cubicBezTo>
                      <a:pt x="512" y="60"/>
                      <a:pt x="477" y="37"/>
                      <a:pt x="437" y="21"/>
                    </a:cubicBezTo>
                    <a:cubicBezTo>
                      <a:pt x="435" y="20"/>
                      <a:pt x="435" y="20"/>
                      <a:pt x="435" y="20"/>
                    </a:cubicBezTo>
                    <a:cubicBezTo>
                      <a:pt x="427" y="17"/>
                      <a:pt x="427" y="17"/>
                      <a:pt x="427" y="17"/>
                    </a:cubicBezTo>
                    <a:cubicBezTo>
                      <a:pt x="423" y="16"/>
                      <a:pt x="423" y="16"/>
                      <a:pt x="423" y="16"/>
                    </a:cubicBezTo>
                    <a:cubicBezTo>
                      <a:pt x="421" y="15"/>
                      <a:pt x="421" y="15"/>
                      <a:pt x="421" y="15"/>
                    </a:cubicBezTo>
                    <a:cubicBezTo>
                      <a:pt x="406" y="10"/>
                      <a:pt x="390" y="6"/>
                      <a:pt x="375" y="4"/>
                    </a:cubicBezTo>
                    <a:cubicBezTo>
                      <a:pt x="374" y="4"/>
                      <a:pt x="374" y="4"/>
                      <a:pt x="374" y="4"/>
                    </a:cubicBezTo>
                    <a:cubicBezTo>
                      <a:pt x="374" y="4"/>
                      <a:pt x="374" y="4"/>
                      <a:pt x="374" y="4"/>
                    </a:cubicBezTo>
                    <a:cubicBezTo>
                      <a:pt x="373" y="4"/>
                      <a:pt x="373" y="4"/>
                      <a:pt x="373" y="4"/>
                    </a:cubicBezTo>
                    <a:cubicBezTo>
                      <a:pt x="373" y="4"/>
                      <a:pt x="373" y="4"/>
                      <a:pt x="373" y="4"/>
                    </a:cubicBezTo>
                    <a:cubicBezTo>
                      <a:pt x="373" y="4"/>
                      <a:pt x="373" y="4"/>
                      <a:pt x="373" y="4"/>
                    </a:cubicBezTo>
                    <a:cubicBezTo>
                      <a:pt x="358" y="1"/>
                      <a:pt x="342" y="0"/>
                      <a:pt x="327" y="0"/>
                    </a:cubicBezTo>
                    <a:cubicBezTo>
                      <a:pt x="315" y="0"/>
                      <a:pt x="302" y="1"/>
                      <a:pt x="290" y="2"/>
                    </a:cubicBezTo>
                    <a:cubicBezTo>
                      <a:pt x="290" y="2"/>
                      <a:pt x="290" y="2"/>
                      <a:pt x="290" y="2"/>
                    </a:cubicBezTo>
                    <a:cubicBezTo>
                      <a:pt x="290" y="2"/>
                      <a:pt x="290" y="2"/>
                      <a:pt x="290" y="2"/>
                    </a:cubicBezTo>
                    <a:cubicBezTo>
                      <a:pt x="289" y="2"/>
                      <a:pt x="289" y="2"/>
                      <a:pt x="289" y="2"/>
                    </a:cubicBezTo>
                    <a:cubicBezTo>
                      <a:pt x="289" y="2"/>
                      <a:pt x="289" y="2"/>
                      <a:pt x="289" y="2"/>
                    </a:cubicBezTo>
                    <a:cubicBezTo>
                      <a:pt x="288" y="2"/>
                      <a:pt x="288" y="2"/>
                      <a:pt x="288" y="2"/>
                    </a:cubicBezTo>
                    <a:cubicBezTo>
                      <a:pt x="210" y="10"/>
                      <a:pt x="137" y="46"/>
                      <a:pt x="83" y="105"/>
                    </a:cubicBezTo>
                    <a:cubicBezTo>
                      <a:pt x="29" y="163"/>
                      <a:pt x="0" y="239"/>
                      <a:pt x="0" y="319"/>
                    </a:cubicBezTo>
                    <a:cubicBezTo>
                      <a:pt x="0" y="325"/>
                      <a:pt x="0" y="325"/>
                      <a:pt x="0" y="325"/>
                    </a:cubicBezTo>
                    <a:cubicBezTo>
                      <a:pt x="0" y="325"/>
                      <a:pt x="0" y="325"/>
                      <a:pt x="0" y="325"/>
                    </a:cubicBezTo>
                    <a:cubicBezTo>
                      <a:pt x="0" y="325"/>
                      <a:pt x="0" y="325"/>
                      <a:pt x="0" y="325"/>
                    </a:cubicBezTo>
                    <a:cubicBezTo>
                      <a:pt x="0" y="330"/>
                      <a:pt x="0" y="330"/>
                      <a:pt x="0" y="330"/>
                    </a:cubicBezTo>
                    <a:cubicBezTo>
                      <a:pt x="0" y="330"/>
                      <a:pt x="0" y="330"/>
                      <a:pt x="0" y="330"/>
                    </a:cubicBezTo>
                    <a:cubicBezTo>
                      <a:pt x="0" y="330"/>
                      <a:pt x="0" y="330"/>
                      <a:pt x="0" y="330"/>
                    </a:cubicBezTo>
                    <a:cubicBezTo>
                      <a:pt x="0" y="331"/>
                      <a:pt x="0" y="333"/>
                      <a:pt x="0" y="334"/>
                    </a:cubicBezTo>
                    <a:cubicBezTo>
                      <a:pt x="0" y="336"/>
                      <a:pt x="0" y="337"/>
                      <a:pt x="0" y="338"/>
                    </a:cubicBezTo>
                    <a:cubicBezTo>
                      <a:pt x="0" y="340"/>
                      <a:pt x="0" y="342"/>
                      <a:pt x="0" y="344"/>
                    </a:cubicBezTo>
                    <a:cubicBezTo>
                      <a:pt x="0" y="346"/>
                      <a:pt x="0" y="346"/>
                      <a:pt x="0" y="346"/>
                    </a:cubicBezTo>
                    <a:cubicBezTo>
                      <a:pt x="0" y="349"/>
                      <a:pt x="0" y="351"/>
                      <a:pt x="0" y="354"/>
                    </a:cubicBezTo>
                    <a:cubicBezTo>
                      <a:pt x="0" y="355"/>
                      <a:pt x="0" y="355"/>
                      <a:pt x="0" y="355"/>
                    </a:cubicBezTo>
                    <a:cubicBezTo>
                      <a:pt x="2" y="391"/>
                      <a:pt x="10" y="429"/>
                      <a:pt x="22" y="467"/>
                    </a:cubicBezTo>
                    <a:cubicBezTo>
                      <a:pt x="25" y="475"/>
                      <a:pt x="25" y="475"/>
                      <a:pt x="25" y="475"/>
                    </a:cubicBezTo>
                    <a:cubicBezTo>
                      <a:pt x="30" y="491"/>
                      <a:pt x="37" y="508"/>
                      <a:pt x="45" y="524"/>
                    </a:cubicBezTo>
                    <a:cubicBezTo>
                      <a:pt x="316" y="524"/>
                      <a:pt x="316" y="524"/>
                      <a:pt x="316" y="524"/>
                    </a:cubicBezTo>
                    <a:cubicBezTo>
                      <a:pt x="403" y="354"/>
                      <a:pt x="403" y="354"/>
                      <a:pt x="403" y="354"/>
                    </a:cubicBezTo>
                    <a:cubicBezTo>
                      <a:pt x="407" y="346"/>
                      <a:pt x="415" y="341"/>
                      <a:pt x="424" y="342"/>
                    </a:cubicBezTo>
                    <a:cubicBezTo>
                      <a:pt x="432" y="342"/>
                      <a:pt x="440" y="347"/>
                      <a:pt x="443" y="355"/>
                    </a:cubicBezTo>
                    <a:cubicBezTo>
                      <a:pt x="573" y="656"/>
                      <a:pt x="573" y="656"/>
                      <a:pt x="573" y="656"/>
                    </a:cubicBezTo>
                    <a:cubicBezTo>
                      <a:pt x="647" y="535"/>
                      <a:pt x="647" y="535"/>
                      <a:pt x="647" y="535"/>
                    </a:cubicBezTo>
                    <a:cubicBezTo>
                      <a:pt x="651" y="528"/>
                      <a:pt x="658" y="524"/>
                      <a:pt x="666" y="524"/>
                    </a:cubicBezTo>
                    <a:cubicBezTo>
                      <a:pt x="814" y="524"/>
                      <a:pt x="814" y="524"/>
                      <a:pt x="814" y="524"/>
                    </a:cubicBezTo>
                    <a:cubicBezTo>
                      <a:pt x="824" y="485"/>
                      <a:pt x="859" y="456"/>
                      <a:pt x="901" y="456"/>
                    </a:cubicBezTo>
                    <a:cubicBezTo>
                      <a:pt x="951" y="456"/>
                      <a:pt x="991" y="496"/>
                      <a:pt x="991" y="546"/>
                    </a:cubicBezTo>
                    <a:cubicBezTo>
                      <a:pt x="991" y="596"/>
                      <a:pt x="951" y="636"/>
                      <a:pt x="901" y="636"/>
                    </a:cubicBezTo>
                    <a:cubicBezTo>
                      <a:pt x="859" y="636"/>
                      <a:pt x="824" y="607"/>
                      <a:pt x="814" y="568"/>
                    </a:cubicBezTo>
                    <a:cubicBezTo>
                      <a:pt x="678" y="568"/>
                      <a:pt x="678" y="568"/>
                      <a:pt x="678" y="568"/>
                    </a:cubicBezTo>
                    <a:cubicBezTo>
                      <a:pt x="589" y="716"/>
                      <a:pt x="589" y="716"/>
                      <a:pt x="589" y="716"/>
                    </a:cubicBezTo>
                    <a:cubicBezTo>
                      <a:pt x="585" y="722"/>
                      <a:pt x="578" y="726"/>
                      <a:pt x="570" y="726"/>
                    </a:cubicBezTo>
                    <a:cubicBezTo>
                      <a:pt x="569" y="726"/>
                      <a:pt x="569" y="726"/>
                      <a:pt x="568" y="726"/>
                    </a:cubicBezTo>
                    <a:cubicBezTo>
                      <a:pt x="560" y="726"/>
                      <a:pt x="553" y="721"/>
                      <a:pt x="550" y="713"/>
                    </a:cubicBezTo>
                    <a:cubicBezTo>
                      <a:pt x="421" y="415"/>
                      <a:pt x="421" y="415"/>
                      <a:pt x="421" y="415"/>
                    </a:cubicBezTo>
                    <a:cubicBezTo>
                      <a:pt x="350" y="556"/>
                      <a:pt x="350" y="556"/>
                      <a:pt x="350" y="556"/>
                    </a:cubicBezTo>
                    <a:cubicBezTo>
                      <a:pt x="346" y="563"/>
                      <a:pt x="338" y="568"/>
                      <a:pt x="330" y="568"/>
                    </a:cubicBezTo>
                    <a:cubicBezTo>
                      <a:pt x="67" y="568"/>
                      <a:pt x="67" y="568"/>
                      <a:pt x="67" y="568"/>
                    </a:cubicBezTo>
                    <a:cubicBezTo>
                      <a:pt x="125" y="672"/>
                      <a:pt x="220" y="775"/>
                      <a:pt x="350" y="875"/>
                    </a:cubicBezTo>
                    <a:cubicBezTo>
                      <a:pt x="353" y="878"/>
                      <a:pt x="356" y="880"/>
                      <a:pt x="359" y="882"/>
                    </a:cubicBezTo>
                    <a:cubicBezTo>
                      <a:pt x="363" y="885"/>
                      <a:pt x="363" y="885"/>
                      <a:pt x="363" y="885"/>
                    </a:cubicBezTo>
                    <a:cubicBezTo>
                      <a:pt x="452" y="952"/>
                      <a:pt x="557" y="1018"/>
                      <a:pt x="675" y="1080"/>
                    </a:cubicBezTo>
                    <a:cubicBezTo>
                      <a:pt x="681" y="1083"/>
                      <a:pt x="681" y="1083"/>
                      <a:pt x="681" y="1083"/>
                    </a:cubicBezTo>
                    <a:cubicBezTo>
                      <a:pt x="681" y="1083"/>
                      <a:pt x="681" y="1083"/>
                      <a:pt x="681" y="1083"/>
                    </a:cubicBezTo>
                    <a:cubicBezTo>
                      <a:pt x="681" y="1083"/>
                      <a:pt x="681" y="1083"/>
                      <a:pt x="681" y="1083"/>
                    </a:cubicBezTo>
                    <a:cubicBezTo>
                      <a:pt x="687" y="1080"/>
                      <a:pt x="687" y="1080"/>
                      <a:pt x="687" y="1080"/>
                    </a:cubicBezTo>
                    <a:cubicBezTo>
                      <a:pt x="805" y="1018"/>
                      <a:pt x="910" y="952"/>
                      <a:pt x="1000" y="885"/>
                    </a:cubicBezTo>
                    <a:cubicBezTo>
                      <a:pt x="1003" y="882"/>
                      <a:pt x="1003" y="882"/>
                      <a:pt x="1003" y="882"/>
                    </a:cubicBezTo>
                    <a:cubicBezTo>
                      <a:pt x="1006" y="880"/>
                      <a:pt x="1009" y="878"/>
                      <a:pt x="1012" y="875"/>
                    </a:cubicBezTo>
                    <a:cubicBezTo>
                      <a:pt x="1181" y="745"/>
                      <a:pt x="1290" y="611"/>
                      <a:pt x="1337" y="475"/>
                    </a:cubicBezTo>
                    <a:cubicBezTo>
                      <a:pt x="1340" y="468"/>
                      <a:pt x="1340" y="468"/>
                      <a:pt x="1340" y="468"/>
                    </a:cubicBezTo>
                    <a:cubicBezTo>
                      <a:pt x="1352" y="430"/>
                      <a:pt x="1360" y="392"/>
                      <a:pt x="1362" y="355"/>
                    </a:cubicBezTo>
                    <a:cubicBezTo>
                      <a:pt x="1362" y="354"/>
                      <a:pt x="1362" y="354"/>
                      <a:pt x="1362" y="354"/>
                    </a:cubicBezTo>
                    <a:cubicBezTo>
                      <a:pt x="1362" y="351"/>
                      <a:pt x="1362" y="349"/>
                      <a:pt x="1362" y="346"/>
                    </a:cubicBezTo>
                    <a:cubicBezTo>
                      <a:pt x="1362" y="344"/>
                      <a:pt x="1362" y="344"/>
                      <a:pt x="1362" y="344"/>
                    </a:cubicBezTo>
                    <a:cubicBezTo>
                      <a:pt x="1362" y="342"/>
                      <a:pt x="1362" y="340"/>
                      <a:pt x="1362" y="338"/>
                    </a:cubicBezTo>
                    <a:cubicBezTo>
                      <a:pt x="1362" y="337"/>
                      <a:pt x="1362" y="336"/>
                      <a:pt x="1362" y="334"/>
                    </a:cubicBezTo>
                    <a:cubicBezTo>
                      <a:pt x="1362" y="333"/>
                      <a:pt x="1362" y="331"/>
                      <a:pt x="1362" y="330"/>
                    </a:cubicBez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4">
                <a:extLst>
                  <a:ext uri="{FF2B5EF4-FFF2-40B4-BE49-F238E27FC236}">
                    <a16:creationId xmlns:a16="http://schemas.microsoft.com/office/drawing/2014/main" id="{927077DB-5610-483B-930C-C519890B3447}"/>
                  </a:ext>
                </a:extLst>
              </p:cNvPr>
              <p:cNvSpPr>
                <a:spLocks noEditPoints="1"/>
              </p:cNvSpPr>
              <p:nvPr/>
            </p:nvSpPr>
            <p:spPr bwMode="auto">
              <a:xfrm>
                <a:off x="5546725" y="2976563"/>
                <a:ext cx="1098550" cy="906463"/>
              </a:xfrm>
              <a:custGeom>
                <a:avLst/>
                <a:gdLst>
                  <a:gd name="T0" fmla="*/ 1123 w 1538"/>
                  <a:gd name="T1" fmla="*/ 0 h 1268"/>
                  <a:gd name="T2" fmla="*/ 987 w 1538"/>
                  <a:gd name="T3" fmla="*/ 25 h 1268"/>
                  <a:gd name="T4" fmla="*/ 692 w 1538"/>
                  <a:gd name="T5" fmla="*/ 115 h 1268"/>
                  <a:gd name="T6" fmla="*/ 474 w 1538"/>
                  <a:gd name="T7" fmla="*/ 5 h 1268"/>
                  <a:gd name="T8" fmla="*/ 0 w 1538"/>
                  <a:gd name="T9" fmla="*/ 417 h 1268"/>
                  <a:gd name="T10" fmla="*/ 0 w 1538"/>
                  <a:gd name="T11" fmla="*/ 447 h 1268"/>
                  <a:gd name="T12" fmla="*/ 56 w 1538"/>
                  <a:gd name="T13" fmla="*/ 656 h 1268"/>
                  <a:gd name="T14" fmla="*/ 730 w 1538"/>
                  <a:gd name="T15" fmla="*/ 1250 h 1268"/>
                  <a:gd name="T16" fmla="*/ 797 w 1538"/>
                  <a:gd name="T17" fmla="*/ 1255 h 1268"/>
                  <a:gd name="T18" fmla="*/ 1154 w 1538"/>
                  <a:gd name="T19" fmla="*/ 1033 h 1268"/>
                  <a:gd name="T20" fmla="*/ 1538 w 1538"/>
                  <a:gd name="T21" fmla="*/ 437 h 1268"/>
                  <a:gd name="T22" fmla="*/ 1494 w 1538"/>
                  <a:gd name="T23" fmla="*/ 426 h 1268"/>
                  <a:gd name="T24" fmla="*/ 1494 w 1538"/>
                  <a:gd name="T25" fmla="*/ 445 h 1268"/>
                  <a:gd name="T26" fmla="*/ 1483 w 1538"/>
                  <a:gd name="T27" fmla="*/ 522 h 1268"/>
                  <a:gd name="T28" fmla="*/ 1472 w 1538"/>
                  <a:gd name="T29" fmla="*/ 561 h 1268"/>
                  <a:gd name="T30" fmla="*/ 1462 w 1538"/>
                  <a:gd name="T31" fmla="*/ 590 h 1268"/>
                  <a:gd name="T32" fmla="*/ 1127 w 1538"/>
                  <a:gd name="T33" fmla="*/ 998 h 1268"/>
                  <a:gd name="T34" fmla="*/ 1114 w 1538"/>
                  <a:gd name="T35" fmla="*/ 1008 h 1268"/>
                  <a:gd name="T36" fmla="*/ 788 w 1538"/>
                  <a:gd name="T37" fmla="*/ 1211 h 1268"/>
                  <a:gd name="T38" fmla="*/ 779 w 1538"/>
                  <a:gd name="T39" fmla="*/ 1215 h 1268"/>
                  <a:gd name="T40" fmla="*/ 769 w 1538"/>
                  <a:gd name="T41" fmla="*/ 1220 h 1268"/>
                  <a:gd name="T42" fmla="*/ 759 w 1538"/>
                  <a:gd name="T43" fmla="*/ 1215 h 1268"/>
                  <a:gd name="T44" fmla="*/ 742 w 1538"/>
                  <a:gd name="T45" fmla="*/ 1207 h 1268"/>
                  <a:gd name="T46" fmla="*/ 411 w 1538"/>
                  <a:gd name="T47" fmla="*/ 998 h 1268"/>
                  <a:gd name="T48" fmla="*/ 363 w 1538"/>
                  <a:gd name="T49" fmla="*/ 960 h 1268"/>
                  <a:gd name="T50" fmla="*/ 105 w 1538"/>
                  <a:gd name="T51" fmla="*/ 656 h 1268"/>
                  <a:gd name="T52" fmla="*/ 71 w 1538"/>
                  <a:gd name="T53" fmla="*/ 577 h 1268"/>
                  <a:gd name="T54" fmla="*/ 61 w 1538"/>
                  <a:gd name="T55" fmla="*/ 545 h 1268"/>
                  <a:gd name="T56" fmla="*/ 52 w 1538"/>
                  <a:gd name="T57" fmla="*/ 507 h 1268"/>
                  <a:gd name="T58" fmla="*/ 46 w 1538"/>
                  <a:gd name="T59" fmla="*/ 467 h 1268"/>
                  <a:gd name="T60" fmla="*/ 44 w 1538"/>
                  <a:gd name="T61" fmla="*/ 444 h 1268"/>
                  <a:gd name="T62" fmla="*/ 44 w 1538"/>
                  <a:gd name="T63" fmla="*/ 426 h 1268"/>
                  <a:gd name="T64" fmla="*/ 44 w 1538"/>
                  <a:gd name="T65" fmla="*/ 414 h 1268"/>
                  <a:gd name="T66" fmla="*/ 99 w 1538"/>
                  <a:gd name="T67" fmla="*/ 215 h 1268"/>
                  <a:gd name="T68" fmla="*/ 183 w 1538"/>
                  <a:gd name="T69" fmla="*/ 122 h 1268"/>
                  <a:gd name="T70" fmla="*/ 233 w 1538"/>
                  <a:gd name="T71" fmla="*/ 89 h 1268"/>
                  <a:gd name="T72" fmla="*/ 467 w 1538"/>
                  <a:gd name="T73" fmla="*/ 48 h 1268"/>
                  <a:gd name="T74" fmla="*/ 530 w 1538"/>
                  <a:gd name="T75" fmla="*/ 64 h 1268"/>
                  <a:gd name="T76" fmla="*/ 538 w 1538"/>
                  <a:gd name="T77" fmla="*/ 67 h 1268"/>
                  <a:gd name="T78" fmla="*/ 567 w 1538"/>
                  <a:gd name="T79" fmla="*/ 79 h 1268"/>
                  <a:gd name="T80" fmla="*/ 604 w 1538"/>
                  <a:gd name="T81" fmla="*/ 100 h 1268"/>
                  <a:gd name="T82" fmla="*/ 639 w 1538"/>
                  <a:gd name="T83" fmla="*/ 126 h 1268"/>
                  <a:gd name="T84" fmla="*/ 683 w 1538"/>
                  <a:gd name="T85" fmla="*/ 168 h 1268"/>
                  <a:gd name="T86" fmla="*/ 769 w 1538"/>
                  <a:gd name="T87" fmla="*/ 289 h 1268"/>
                  <a:gd name="T88" fmla="*/ 877 w 1538"/>
                  <a:gd name="T89" fmla="*/ 146 h 1268"/>
                  <a:gd name="T90" fmla="*/ 919 w 1538"/>
                  <a:gd name="T91" fmla="*/ 110 h 1268"/>
                  <a:gd name="T92" fmla="*/ 955 w 1538"/>
                  <a:gd name="T93" fmla="*/ 88 h 1268"/>
                  <a:gd name="T94" fmla="*/ 999 w 1538"/>
                  <a:gd name="T95" fmla="*/ 67 h 1268"/>
                  <a:gd name="T96" fmla="*/ 1004 w 1538"/>
                  <a:gd name="T97" fmla="*/ 66 h 1268"/>
                  <a:gd name="T98" fmla="*/ 1010 w 1538"/>
                  <a:gd name="T99" fmla="*/ 63 h 1268"/>
                  <a:gd name="T100" fmla="*/ 1048 w 1538"/>
                  <a:gd name="T101" fmla="*/ 52 h 1268"/>
                  <a:gd name="T102" fmla="*/ 1165 w 1538"/>
                  <a:gd name="T103" fmla="*/ 47 h 1268"/>
                  <a:gd name="T104" fmla="*/ 1322 w 1538"/>
                  <a:gd name="T105" fmla="*/ 99 h 1268"/>
                  <a:gd name="T106" fmla="*/ 1389 w 1538"/>
                  <a:gd name="T107" fmla="*/ 152 h 1268"/>
                  <a:gd name="T108" fmla="*/ 1494 w 1538"/>
                  <a:gd name="T109" fmla="*/ 407 h 1268"/>
                  <a:gd name="T110" fmla="*/ 1494 w 1538"/>
                  <a:gd name="T111" fmla="*/ 415 h 1268"/>
                  <a:gd name="T112" fmla="*/ 1494 w 1538"/>
                  <a:gd name="T113" fmla="*/ 422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8" h="1268">
                    <a:moveTo>
                      <a:pt x="1538" y="417"/>
                    </a:moveTo>
                    <a:cubicBezTo>
                      <a:pt x="1538" y="416"/>
                      <a:pt x="1538" y="414"/>
                      <a:pt x="1538" y="413"/>
                    </a:cubicBezTo>
                    <a:cubicBezTo>
                      <a:pt x="1538" y="412"/>
                      <a:pt x="1538" y="408"/>
                      <a:pt x="1538" y="407"/>
                    </a:cubicBezTo>
                    <a:cubicBezTo>
                      <a:pt x="1538" y="196"/>
                      <a:pt x="1377" y="23"/>
                      <a:pt x="1170" y="3"/>
                    </a:cubicBezTo>
                    <a:cubicBezTo>
                      <a:pt x="1155" y="1"/>
                      <a:pt x="1139" y="0"/>
                      <a:pt x="1123" y="0"/>
                    </a:cubicBezTo>
                    <a:cubicBezTo>
                      <a:pt x="1104" y="0"/>
                      <a:pt x="1084" y="2"/>
                      <a:pt x="1064" y="5"/>
                    </a:cubicBezTo>
                    <a:cubicBezTo>
                      <a:pt x="1038" y="8"/>
                      <a:pt x="1013" y="15"/>
                      <a:pt x="990" y="23"/>
                    </a:cubicBezTo>
                    <a:cubicBezTo>
                      <a:pt x="990" y="23"/>
                      <a:pt x="990" y="24"/>
                      <a:pt x="989" y="24"/>
                    </a:cubicBezTo>
                    <a:cubicBezTo>
                      <a:pt x="989" y="24"/>
                      <a:pt x="988" y="24"/>
                      <a:pt x="988" y="25"/>
                    </a:cubicBezTo>
                    <a:cubicBezTo>
                      <a:pt x="987" y="25"/>
                      <a:pt x="987" y="25"/>
                      <a:pt x="987" y="25"/>
                    </a:cubicBezTo>
                    <a:cubicBezTo>
                      <a:pt x="933" y="45"/>
                      <a:pt x="885" y="76"/>
                      <a:pt x="846" y="115"/>
                    </a:cubicBezTo>
                    <a:cubicBezTo>
                      <a:pt x="830" y="130"/>
                      <a:pt x="815" y="147"/>
                      <a:pt x="800" y="165"/>
                    </a:cubicBezTo>
                    <a:cubicBezTo>
                      <a:pt x="797" y="170"/>
                      <a:pt x="775" y="199"/>
                      <a:pt x="769" y="208"/>
                    </a:cubicBezTo>
                    <a:cubicBezTo>
                      <a:pt x="763" y="199"/>
                      <a:pt x="741" y="170"/>
                      <a:pt x="738" y="165"/>
                    </a:cubicBezTo>
                    <a:cubicBezTo>
                      <a:pt x="723" y="147"/>
                      <a:pt x="708" y="130"/>
                      <a:pt x="692" y="115"/>
                    </a:cubicBezTo>
                    <a:cubicBezTo>
                      <a:pt x="653" y="76"/>
                      <a:pt x="605" y="45"/>
                      <a:pt x="551" y="25"/>
                    </a:cubicBezTo>
                    <a:cubicBezTo>
                      <a:pt x="551" y="25"/>
                      <a:pt x="551" y="25"/>
                      <a:pt x="550" y="25"/>
                    </a:cubicBezTo>
                    <a:cubicBezTo>
                      <a:pt x="550" y="24"/>
                      <a:pt x="549" y="24"/>
                      <a:pt x="549" y="24"/>
                    </a:cubicBezTo>
                    <a:cubicBezTo>
                      <a:pt x="548" y="24"/>
                      <a:pt x="548" y="23"/>
                      <a:pt x="548" y="23"/>
                    </a:cubicBezTo>
                    <a:cubicBezTo>
                      <a:pt x="525" y="15"/>
                      <a:pt x="500" y="8"/>
                      <a:pt x="474" y="5"/>
                    </a:cubicBezTo>
                    <a:cubicBezTo>
                      <a:pt x="454" y="2"/>
                      <a:pt x="434" y="0"/>
                      <a:pt x="415" y="0"/>
                    </a:cubicBezTo>
                    <a:cubicBezTo>
                      <a:pt x="399" y="0"/>
                      <a:pt x="383" y="1"/>
                      <a:pt x="368" y="3"/>
                    </a:cubicBezTo>
                    <a:cubicBezTo>
                      <a:pt x="161" y="23"/>
                      <a:pt x="0" y="196"/>
                      <a:pt x="0" y="407"/>
                    </a:cubicBezTo>
                    <a:cubicBezTo>
                      <a:pt x="0" y="408"/>
                      <a:pt x="0" y="412"/>
                      <a:pt x="0" y="413"/>
                    </a:cubicBezTo>
                    <a:cubicBezTo>
                      <a:pt x="0" y="414"/>
                      <a:pt x="0" y="416"/>
                      <a:pt x="0" y="417"/>
                    </a:cubicBezTo>
                    <a:cubicBezTo>
                      <a:pt x="0" y="419"/>
                      <a:pt x="0" y="421"/>
                      <a:pt x="0" y="422"/>
                    </a:cubicBezTo>
                    <a:cubicBezTo>
                      <a:pt x="0" y="424"/>
                      <a:pt x="0" y="425"/>
                      <a:pt x="0" y="427"/>
                    </a:cubicBezTo>
                    <a:cubicBezTo>
                      <a:pt x="0" y="429"/>
                      <a:pt x="0" y="432"/>
                      <a:pt x="0" y="434"/>
                    </a:cubicBezTo>
                    <a:cubicBezTo>
                      <a:pt x="0" y="435"/>
                      <a:pt x="0" y="436"/>
                      <a:pt x="0" y="437"/>
                    </a:cubicBezTo>
                    <a:cubicBezTo>
                      <a:pt x="0" y="440"/>
                      <a:pt x="0" y="443"/>
                      <a:pt x="0" y="447"/>
                    </a:cubicBezTo>
                    <a:cubicBezTo>
                      <a:pt x="0" y="447"/>
                      <a:pt x="0" y="447"/>
                      <a:pt x="0" y="448"/>
                    </a:cubicBezTo>
                    <a:cubicBezTo>
                      <a:pt x="3" y="493"/>
                      <a:pt x="12" y="542"/>
                      <a:pt x="29" y="591"/>
                    </a:cubicBezTo>
                    <a:cubicBezTo>
                      <a:pt x="30" y="591"/>
                      <a:pt x="30" y="591"/>
                      <a:pt x="30" y="591"/>
                    </a:cubicBezTo>
                    <a:cubicBezTo>
                      <a:pt x="32" y="598"/>
                      <a:pt x="34" y="605"/>
                      <a:pt x="37" y="612"/>
                    </a:cubicBezTo>
                    <a:cubicBezTo>
                      <a:pt x="43" y="627"/>
                      <a:pt x="49" y="641"/>
                      <a:pt x="56" y="656"/>
                    </a:cubicBezTo>
                    <a:cubicBezTo>
                      <a:pt x="114" y="776"/>
                      <a:pt x="218" y="905"/>
                      <a:pt x="384" y="1033"/>
                    </a:cubicBezTo>
                    <a:cubicBezTo>
                      <a:pt x="387" y="1035"/>
                      <a:pt x="390" y="1038"/>
                      <a:pt x="393" y="1040"/>
                    </a:cubicBezTo>
                    <a:cubicBezTo>
                      <a:pt x="395" y="1041"/>
                      <a:pt x="396" y="1042"/>
                      <a:pt x="397" y="1043"/>
                    </a:cubicBezTo>
                    <a:cubicBezTo>
                      <a:pt x="487" y="1111"/>
                      <a:pt x="595" y="1179"/>
                      <a:pt x="722" y="1246"/>
                    </a:cubicBezTo>
                    <a:cubicBezTo>
                      <a:pt x="724" y="1247"/>
                      <a:pt x="727" y="1249"/>
                      <a:pt x="730" y="1250"/>
                    </a:cubicBezTo>
                    <a:cubicBezTo>
                      <a:pt x="734" y="1252"/>
                      <a:pt x="738" y="1254"/>
                      <a:pt x="741" y="1255"/>
                    </a:cubicBezTo>
                    <a:cubicBezTo>
                      <a:pt x="747" y="1258"/>
                      <a:pt x="755" y="1262"/>
                      <a:pt x="768" y="1268"/>
                    </a:cubicBezTo>
                    <a:cubicBezTo>
                      <a:pt x="768" y="1268"/>
                      <a:pt x="768" y="1268"/>
                      <a:pt x="769" y="1268"/>
                    </a:cubicBezTo>
                    <a:cubicBezTo>
                      <a:pt x="770" y="1268"/>
                      <a:pt x="770" y="1268"/>
                      <a:pt x="770" y="1268"/>
                    </a:cubicBezTo>
                    <a:cubicBezTo>
                      <a:pt x="783" y="1262"/>
                      <a:pt x="791" y="1258"/>
                      <a:pt x="797" y="1255"/>
                    </a:cubicBezTo>
                    <a:cubicBezTo>
                      <a:pt x="800" y="1254"/>
                      <a:pt x="804" y="1252"/>
                      <a:pt x="808" y="1250"/>
                    </a:cubicBezTo>
                    <a:cubicBezTo>
                      <a:pt x="811" y="1249"/>
                      <a:pt x="814" y="1247"/>
                      <a:pt x="816" y="1246"/>
                    </a:cubicBezTo>
                    <a:cubicBezTo>
                      <a:pt x="943" y="1179"/>
                      <a:pt x="1051" y="1111"/>
                      <a:pt x="1141" y="1043"/>
                    </a:cubicBezTo>
                    <a:cubicBezTo>
                      <a:pt x="1142" y="1042"/>
                      <a:pt x="1143" y="1041"/>
                      <a:pt x="1145" y="1040"/>
                    </a:cubicBezTo>
                    <a:cubicBezTo>
                      <a:pt x="1148" y="1038"/>
                      <a:pt x="1151" y="1035"/>
                      <a:pt x="1154" y="1033"/>
                    </a:cubicBezTo>
                    <a:cubicBezTo>
                      <a:pt x="1350" y="882"/>
                      <a:pt x="1460" y="730"/>
                      <a:pt x="1508" y="591"/>
                    </a:cubicBezTo>
                    <a:cubicBezTo>
                      <a:pt x="1508" y="591"/>
                      <a:pt x="1508" y="591"/>
                      <a:pt x="1509" y="591"/>
                    </a:cubicBezTo>
                    <a:cubicBezTo>
                      <a:pt x="1526" y="542"/>
                      <a:pt x="1535" y="493"/>
                      <a:pt x="1538" y="448"/>
                    </a:cubicBezTo>
                    <a:cubicBezTo>
                      <a:pt x="1538" y="447"/>
                      <a:pt x="1538" y="447"/>
                      <a:pt x="1538" y="447"/>
                    </a:cubicBezTo>
                    <a:cubicBezTo>
                      <a:pt x="1538" y="443"/>
                      <a:pt x="1538" y="440"/>
                      <a:pt x="1538" y="437"/>
                    </a:cubicBezTo>
                    <a:cubicBezTo>
                      <a:pt x="1538" y="436"/>
                      <a:pt x="1538" y="435"/>
                      <a:pt x="1538" y="434"/>
                    </a:cubicBezTo>
                    <a:cubicBezTo>
                      <a:pt x="1538" y="432"/>
                      <a:pt x="1538" y="429"/>
                      <a:pt x="1538" y="427"/>
                    </a:cubicBezTo>
                    <a:cubicBezTo>
                      <a:pt x="1538" y="425"/>
                      <a:pt x="1538" y="424"/>
                      <a:pt x="1538" y="422"/>
                    </a:cubicBezTo>
                    <a:cubicBezTo>
                      <a:pt x="1538" y="421"/>
                      <a:pt x="1538" y="419"/>
                      <a:pt x="1538" y="417"/>
                    </a:cubicBezTo>
                    <a:close/>
                    <a:moveTo>
                      <a:pt x="1494" y="426"/>
                    </a:moveTo>
                    <a:cubicBezTo>
                      <a:pt x="1494" y="429"/>
                      <a:pt x="1494" y="431"/>
                      <a:pt x="1494" y="433"/>
                    </a:cubicBezTo>
                    <a:cubicBezTo>
                      <a:pt x="1494" y="436"/>
                      <a:pt x="1494" y="436"/>
                      <a:pt x="1494" y="436"/>
                    </a:cubicBezTo>
                    <a:cubicBezTo>
                      <a:pt x="1494" y="438"/>
                      <a:pt x="1494" y="440"/>
                      <a:pt x="1494" y="443"/>
                    </a:cubicBezTo>
                    <a:cubicBezTo>
                      <a:pt x="1494" y="443"/>
                      <a:pt x="1494" y="444"/>
                      <a:pt x="1494" y="444"/>
                    </a:cubicBezTo>
                    <a:cubicBezTo>
                      <a:pt x="1494" y="445"/>
                      <a:pt x="1494" y="445"/>
                      <a:pt x="1494" y="445"/>
                    </a:cubicBezTo>
                    <a:cubicBezTo>
                      <a:pt x="1494" y="445"/>
                      <a:pt x="1494" y="445"/>
                      <a:pt x="1494" y="445"/>
                    </a:cubicBezTo>
                    <a:cubicBezTo>
                      <a:pt x="1493" y="465"/>
                      <a:pt x="1490" y="485"/>
                      <a:pt x="1486" y="505"/>
                    </a:cubicBezTo>
                    <a:cubicBezTo>
                      <a:pt x="1486" y="506"/>
                      <a:pt x="1486" y="506"/>
                      <a:pt x="1486" y="507"/>
                    </a:cubicBezTo>
                    <a:cubicBezTo>
                      <a:pt x="1485" y="510"/>
                      <a:pt x="1484" y="514"/>
                      <a:pt x="1484" y="518"/>
                    </a:cubicBezTo>
                    <a:cubicBezTo>
                      <a:pt x="1483" y="519"/>
                      <a:pt x="1483" y="521"/>
                      <a:pt x="1483" y="522"/>
                    </a:cubicBezTo>
                    <a:cubicBezTo>
                      <a:pt x="1482" y="525"/>
                      <a:pt x="1481" y="529"/>
                      <a:pt x="1480" y="532"/>
                    </a:cubicBezTo>
                    <a:cubicBezTo>
                      <a:pt x="1480" y="534"/>
                      <a:pt x="1479" y="536"/>
                      <a:pt x="1479" y="538"/>
                    </a:cubicBezTo>
                    <a:cubicBezTo>
                      <a:pt x="1478" y="541"/>
                      <a:pt x="1477" y="544"/>
                      <a:pt x="1477" y="546"/>
                    </a:cubicBezTo>
                    <a:cubicBezTo>
                      <a:pt x="1476" y="549"/>
                      <a:pt x="1475" y="551"/>
                      <a:pt x="1474" y="554"/>
                    </a:cubicBezTo>
                    <a:cubicBezTo>
                      <a:pt x="1474" y="556"/>
                      <a:pt x="1473" y="559"/>
                      <a:pt x="1472" y="561"/>
                    </a:cubicBezTo>
                    <a:cubicBezTo>
                      <a:pt x="1471" y="564"/>
                      <a:pt x="1470" y="566"/>
                      <a:pt x="1470" y="569"/>
                    </a:cubicBezTo>
                    <a:cubicBezTo>
                      <a:pt x="1470" y="569"/>
                      <a:pt x="1470" y="569"/>
                      <a:pt x="1470" y="569"/>
                    </a:cubicBezTo>
                    <a:cubicBezTo>
                      <a:pt x="1467" y="577"/>
                      <a:pt x="1467" y="577"/>
                      <a:pt x="1467" y="577"/>
                    </a:cubicBezTo>
                    <a:cubicBezTo>
                      <a:pt x="1467" y="578"/>
                      <a:pt x="1466" y="579"/>
                      <a:pt x="1466" y="579"/>
                    </a:cubicBezTo>
                    <a:cubicBezTo>
                      <a:pt x="1465" y="583"/>
                      <a:pt x="1464" y="586"/>
                      <a:pt x="1462" y="590"/>
                    </a:cubicBezTo>
                    <a:cubicBezTo>
                      <a:pt x="1438" y="653"/>
                      <a:pt x="1401" y="717"/>
                      <a:pt x="1352" y="780"/>
                    </a:cubicBezTo>
                    <a:cubicBezTo>
                      <a:pt x="1298" y="850"/>
                      <a:pt x="1228" y="918"/>
                      <a:pt x="1145" y="984"/>
                    </a:cubicBezTo>
                    <a:cubicBezTo>
                      <a:pt x="1145" y="984"/>
                      <a:pt x="1144" y="985"/>
                      <a:pt x="1144" y="985"/>
                    </a:cubicBezTo>
                    <a:cubicBezTo>
                      <a:pt x="1139" y="989"/>
                      <a:pt x="1134" y="992"/>
                      <a:pt x="1130" y="996"/>
                    </a:cubicBezTo>
                    <a:cubicBezTo>
                      <a:pt x="1129" y="997"/>
                      <a:pt x="1128" y="997"/>
                      <a:pt x="1127" y="998"/>
                    </a:cubicBezTo>
                    <a:cubicBezTo>
                      <a:pt x="1125" y="1000"/>
                      <a:pt x="1123" y="1001"/>
                      <a:pt x="1121" y="1002"/>
                    </a:cubicBezTo>
                    <a:cubicBezTo>
                      <a:pt x="1120" y="1003"/>
                      <a:pt x="1119" y="1004"/>
                      <a:pt x="1118" y="1005"/>
                    </a:cubicBezTo>
                    <a:cubicBezTo>
                      <a:pt x="1117" y="1006"/>
                      <a:pt x="1117" y="1006"/>
                      <a:pt x="1117" y="1006"/>
                    </a:cubicBezTo>
                    <a:cubicBezTo>
                      <a:pt x="1116" y="1006"/>
                      <a:pt x="1116" y="1006"/>
                      <a:pt x="1116" y="1006"/>
                    </a:cubicBezTo>
                    <a:cubicBezTo>
                      <a:pt x="1114" y="1008"/>
                      <a:pt x="1114" y="1008"/>
                      <a:pt x="1114" y="1008"/>
                    </a:cubicBezTo>
                    <a:cubicBezTo>
                      <a:pt x="1055" y="1053"/>
                      <a:pt x="989" y="1097"/>
                      <a:pt x="918" y="1139"/>
                    </a:cubicBezTo>
                    <a:cubicBezTo>
                      <a:pt x="879" y="1162"/>
                      <a:pt x="838" y="1185"/>
                      <a:pt x="796" y="1207"/>
                    </a:cubicBezTo>
                    <a:cubicBezTo>
                      <a:pt x="790" y="1210"/>
                      <a:pt x="790" y="1210"/>
                      <a:pt x="790" y="1210"/>
                    </a:cubicBezTo>
                    <a:cubicBezTo>
                      <a:pt x="788" y="1211"/>
                      <a:pt x="788" y="1211"/>
                      <a:pt x="788" y="1211"/>
                    </a:cubicBezTo>
                    <a:cubicBezTo>
                      <a:pt x="788" y="1211"/>
                      <a:pt x="788" y="1211"/>
                      <a:pt x="788" y="1211"/>
                    </a:cubicBezTo>
                    <a:cubicBezTo>
                      <a:pt x="784" y="1213"/>
                      <a:pt x="784" y="1213"/>
                      <a:pt x="784" y="1213"/>
                    </a:cubicBezTo>
                    <a:cubicBezTo>
                      <a:pt x="779" y="1215"/>
                      <a:pt x="779" y="1215"/>
                      <a:pt x="779" y="1215"/>
                    </a:cubicBezTo>
                    <a:cubicBezTo>
                      <a:pt x="779" y="1215"/>
                      <a:pt x="779" y="1215"/>
                      <a:pt x="779" y="1215"/>
                    </a:cubicBezTo>
                    <a:cubicBezTo>
                      <a:pt x="779" y="1215"/>
                      <a:pt x="779" y="1215"/>
                      <a:pt x="779" y="1215"/>
                    </a:cubicBezTo>
                    <a:cubicBezTo>
                      <a:pt x="779" y="1215"/>
                      <a:pt x="779" y="1215"/>
                      <a:pt x="779" y="1215"/>
                    </a:cubicBezTo>
                    <a:cubicBezTo>
                      <a:pt x="769" y="1220"/>
                      <a:pt x="769" y="1220"/>
                      <a:pt x="769" y="1220"/>
                    </a:cubicBezTo>
                    <a:cubicBezTo>
                      <a:pt x="769" y="1220"/>
                      <a:pt x="769" y="1220"/>
                      <a:pt x="769" y="1220"/>
                    </a:cubicBezTo>
                    <a:cubicBezTo>
                      <a:pt x="769" y="1220"/>
                      <a:pt x="769" y="1220"/>
                      <a:pt x="769" y="1220"/>
                    </a:cubicBezTo>
                    <a:cubicBezTo>
                      <a:pt x="769" y="1220"/>
                      <a:pt x="769" y="1220"/>
                      <a:pt x="769" y="1220"/>
                    </a:cubicBezTo>
                    <a:cubicBezTo>
                      <a:pt x="769" y="1220"/>
                      <a:pt x="769" y="1220"/>
                      <a:pt x="769" y="1220"/>
                    </a:cubicBezTo>
                    <a:cubicBezTo>
                      <a:pt x="767" y="1219"/>
                      <a:pt x="767" y="1219"/>
                      <a:pt x="767" y="1219"/>
                    </a:cubicBezTo>
                    <a:cubicBezTo>
                      <a:pt x="759" y="1215"/>
                      <a:pt x="759" y="1215"/>
                      <a:pt x="759" y="1215"/>
                    </a:cubicBezTo>
                    <a:cubicBezTo>
                      <a:pt x="759" y="1215"/>
                      <a:pt x="759" y="1215"/>
                      <a:pt x="759" y="1215"/>
                    </a:cubicBezTo>
                    <a:cubicBezTo>
                      <a:pt x="759" y="1215"/>
                      <a:pt x="759" y="1215"/>
                      <a:pt x="759" y="1215"/>
                    </a:cubicBezTo>
                    <a:cubicBezTo>
                      <a:pt x="759" y="1215"/>
                      <a:pt x="759" y="1215"/>
                      <a:pt x="759" y="1215"/>
                    </a:cubicBezTo>
                    <a:cubicBezTo>
                      <a:pt x="758" y="1215"/>
                      <a:pt x="758" y="1215"/>
                      <a:pt x="758" y="1215"/>
                    </a:cubicBezTo>
                    <a:cubicBezTo>
                      <a:pt x="750" y="1211"/>
                      <a:pt x="750" y="1211"/>
                      <a:pt x="750" y="1211"/>
                    </a:cubicBezTo>
                    <a:cubicBezTo>
                      <a:pt x="750" y="1211"/>
                      <a:pt x="750" y="1211"/>
                      <a:pt x="750" y="1211"/>
                    </a:cubicBezTo>
                    <a:cubicBezTo>
                      <a:pt x="748" y="1210"/>
                      <a:pt x="748" y="1210"/>
                      <a:pt x="748" y="1210"/>
                    </a:cubicBezTo>
                    <a:cubicBezTo>
                      <a:pt x="742" y="1207"/>
                      <a:pt x="742" y="1207"/>
                      <a:pt x="742" y="1207"/>
                    </a:cubicBezTo>
                    <a:cubicBezTo>
                      <a:pt x="622" y="1144"/>
                      <a:pt x="515" y="1077"/>
                      <a:pt x="424" y="1008"/>
                    </a:cubicBezTo>
                    <a:cubicBezTo>
                      <a:pt x="422" y="1006"/>
                      <a:pt x="422" y="1006"/>
                      <a:pt x="422" y="1006"/>
                    </a:cubicBezTo>
                    <a:cubicBezTo>
                      <a:pt x="420" y="1005"/>
                      <a:pt x="420" y="1005"/>
                      <a:pt x="420" y="1005"/>
                    </a:cubicBezTo>
                    <a:cubicBezTo>
                      <a:pt x="419" y="1004"/>
                      <a:pt x="417" y="1003"/>
                      <a:pt x="416" y="1002"/>
                    </a:cubicBezTo>
                    <a:cubicBezTo>
                      <a:pt x="414" y="1001"/>
                      <a:pt x="413" y="999"/>
                      <a:pt x="411" y="998"/>
                    </a:cubicBezTo>
                    <a:cubicBezTo>
                      <a:pt x="409" y="997"/>
                      <a:pt x="407" y="995"/>
                      <a:pt x="406" y="994"/>
                    </a:cubicBezTo>
                    <a:cubicBezTo>
                      <a:pt x="402" y="991"/>
                      <a:pt x="398" y="988"/>
                      <a:pt x="395" y="985"/>
                    </a:cubicBezTo>
                    <a:cubicBezTo>
                      <a:pt x="393" y="984"/>
                      <a:pt x="392" y="983"/>
                      <a:pt x="391" y="983"/>
                    </a:cubicBezTo>
                    <a:cubicBezTo>
                      <a:pt x="384" y="977"/>
                      <a:pt x="377" y="972"/>
                      <a:pt x="371" y="966"/>
                    </a:cubicBezTo>
                    <a:cubicBezTo>
                      <a:pt x="368" y="964"/>
                      <a:pt x="366" y="962"/>
                      <a:pt x="363" y="960"/>
                    </a:cubicBezTo>
                    <a:cubicBezTo>
                      <a:pt x="358" y="956"/>
                      <a:pt x="353" y="951"/>
                      <a:pt x="348" y="947"/>
                    </a:cubicBezTo>
                    <a:cubicBezTo>
                      <a:pt x="343" y="943"/>
                      <a:pt x="339" y="939"/>
                      <a:pt x="335" y="935"/>
                    </a:cubicBezTo>
                    <a:cubicBezTo>
                      <a:pt x="333" y="934"/>
                      <a:pt x="332" y="933"/>
                      <a:pt x="330" y="931"/>
                    </a:cubicBezTo>
                    <a:cubicBezTo>
                      <a:pt x="274" y="882"/>
                      <a:pt x="226" y="831"/>
                      <a:pt x="186" y="780"/>
                    </a:cubicBezTo>
                    <a:cubicBezTo>
                      <a:pt x="154" y="739"/>
                      <a:pt x="127" y="698"/>
                      <a:pt x="105" y="656"/>
                    </a:cubicBezTo>
                    <a:cubicBezTo>
                      <a:pt x="98" y="641"/>
                      <a:pt x="91" y="627"/>
                      <a:pt x="85" y="612"/>
                    </a:cubicBezTo>
                    <a:cubicBezTo>
                      <a:pt x="82" y="605"/>
                      <a:pt x="79" y="597"/>
                      <a:pt x="76" y="590"/>
                    </a:cubicBezTo>
                    <a:cubicBezTo>
                      <a:pt x="74" y="586"/>
                      <a:pt x="73" y="583"/>
                      <a:pt x="72" y="579"/>
                    </a:cubicBezTo>
                    <a:cubicBezTo>
                      <a:pt x="72" y="579"/>
                      <a:pt x="71" y="578"/>
                      <a:pt x="71" y="577"/>
                    </a:cubicBezTo>
                    <a:cubicBezTo>
                      <a:pt x="71" y="577"/>
                      <a:pt x="71" y="577"/>
                      <a:pt x="71" y="577"/>
                    </a:cubicBezTo>
                    <a:cubicBezTo>
                      <a:pt x="69" y="570"/>
                      <a:pt x="69" y="570"/>
                      <a:pt x="69" y="570"/>
                    </a:cubicBezTo>
                    <a:cubicBezTo>
                      <a:pt x="69" y="570"/>
                      <a:pt x="69" y="570"/>
                      <a:pt x="68" y="569"/>
                    </a:cubicBezTo>
                    <a:cubicBezTo>
                      <a:pt x="68" y="567"/>
                      <a:pt x="67" y="564"/>
                      <a:pt x="66" y="561"/>
                    </a:cubicBezTo>
                    <a:cubicBezTo>
                      <a:pt x="65" y="558"/>
                      <a:pt x="64" y="556"/>
                      <a:pt x="64" y="554"/>
                    </a:cubicBezTo>
                    <a:cubicBezTo>
                      <a:pt x="63" y="551"/>
                      <a:pt x="62" y="548"/>
                      <a:pt x="61" y="545"/>
                    </a:cubicBezTo>
                    <a:cubicBezTo>
                      <a:pt x="60" y="543"/>
                      <a:pt x="60" y="540"/>
                      <a:pt x="59" y="538"/>
                    </a:cubicBezTo>
                    <a:cubicBezTo>
                      <a:pt x="58" y="535"/>
                      <a:pt x="58" y="532"/>
                      <a:pt x="57" y="529"/>
                    </a:cubicBezTo>
                    <a:cubicBezTo>
                      <a:pt x="56" y="527"/>
                      <a:pt x="56" y="525"/>
                      <a:pt x="55" y="522"/>
                    </a:cubicBezTo>
                    <a:cubicBezTo>
                      <a:pt x="55" y="520"/>
                      <a:pt x="54" y="517"/>
                      <a:pt x="53" y="514"/>
                    </a:cubicBezTo>
                    <a:cubicBezTo>
                      <a:pt x="53" y="512"/>
                      <a:pt x="52" y="509"/>
                      <a:pt x="52" y="507"/>
                    </a:cubicBezTo>
                    <a:cubicBezTo>
                      <a:pt x="51" y="504"/>
                      <a:pt x="51" y="501"/>
                      <a:pt x="51" y="499"/>
                    </a:cubicBezTo>
                    <a:cubicBezTo>
                      <a:pt x="50" y="496"/>
                      <a:pt x="50" y="494"/>
                      <a:pt x="49" y="491"/>
                    </a:cubicBezTo>
                    <a:cubicBezTo>
                      <a:pt x="49" y="489"/>
                      <a:pt x="48" y="486"/>
                      <a:pt x="48" y="483"/>
                    </a:cubicBezTo>
                    <a:cubicBezTo>
                      <a:pt x="48" y="481"/>
                      <a:pt x="47" y="478"/>
                      <a:pt x="47" y="476"/>
                    </a:cubicBezTo>
                    <a:cubicBezTo>
                      <a:pt x="47" y="473"/>
                      <a:pt x="46" y="470"/>
                      <a:pt x="46" y="467"/>
                    </a:cubicBezTo>
                    <a:cubicBezTo>
                      <a:pt x="46" y="465"/>
                      <a:pt x="46" y="463"/>
                      <a:pt x="45" y="460"/>
                    </a:cubicBezTo>
                    <a:cubicBezTo>
                      <a:pt x="45" y="455"/>
                      <a:pt x="45" y="450"/>
                      <a:pt x="44" y="445"/>
                    </a:cubicBezTo>
                    <a:cubicBezTo>
                      <a:pt x="44" y="445"/>
                      <a:pt x="44" y="445"/>
                      <a:pt x="44" y="445"/>
                    </a:cubicBezTo>
                    <a:cubicBezTo>
                      <a:pt x="44" y="444"/>
                      <a:pt x="44" y="444"/>
                      <a:pt x="44" y="444"/>
                    </a:cubicBezTo>
                    <a:cubicBezTo>
                      <a:pt x="44" y="444"/>
                      <a:pt x="44" y="444"/>
                      <a:pt x="44" y="444"/>
                    </a:cubicBezTo>
                    <a:cubicBezTo>
                      <a:pt x="44" y="441"/>
                      <a:pt x="44" y="438"/>
                      <a:pt x="44" y="436"/>
                    </a:cubicBezTo>
                    <a:cubicBezTo>
                      <a:pt x="44" y="435"/>
                      <a:pt x="44" y="435"/>
                      <a:pt x="44" y="435"/>
                    </a:cubicBezTo>
                    <a:cubicBezTo>
                      <a:pt x="44" y="433"/>
                      <a:pt x="44" y="433"/>
                      <a:pt x="44" y="433"/>
                    </a:cubicBezTo>
                    <a:cubicBezTo>
                      <a:pt x="44" y="432"/>
                      <a:pt x="44" y="431"/>
                      <a:pt x="44" y="429"/>
                    </a:cubicBezTo>
                    <a:cubicBezTo>
                      <a:pt x="44" y="428"/>
                      <a:pt x="44" y="427"/>
                      <a:pt x="44" y="426"/>
                    </a:cubicBezTo>
                    <a:cubicBezTo>
                      <a:pt x="44" y="425"/>
                      <a:pt x="44" y="424"/>
                      <a:pt x="44" y="422"/>
                    </a:cubicBezTo>
                    <a:cubicBezTo>
                      <a:pt x="44" y="421"/>
                      <a:pt x="44" y="419"/>
                      <a:pt x="44" y="417"/>
                    </a:cubicBezTo>
                    <a:cubicBezTo>
                      <a:pt x="44" y="415"/>
                      <a:pt x="44" y="415"/>
                      <a:pt x="44" y="415"/>
                    </a:cubicBezTo>
                    <a:cubicBezTo>
                      <a:pt x="44" y="415"/>
                      <a:pt x="44" y="415"/>
                      <a:pt x="44" y="414"/>
                    </a:cubicBezTo>
                    <a:cubicBezTo>
                      <a:pt x="44" y="414"/>
                      <a:pt x="44" y="414"/>
                      <a:pt x="44" y="414"/>
                    </a:cubicBezTo>
                    <a:cubicBezTo>
                      <a:pt x="44" y="414"/>
                      <a:pt x="44" y="414"/>
                      <a:pt x="44" y="414"/>
                    </a:cubicBezTo>
                    <a:cubicBezTo>
                      <a:pt x="44" y="413"/>
                      <a:pt x="44" y="413"/>
                      <a:pt x="44" y="413"/>
                    </a:cubicBezTo>
                    <a:cubicBezTo>
                      <a:pt x="44" y="413"/>
                      <a:pt x="44" y="413"/>
                      <a:pt x="44" y="413"/>
                    </a:cubicBezTo>
                    <a:cubicBezTo>
                      <a:pt x="44" y="407"/>
                      <a:pt x="44" y="407"/>
                      <a:pt x="44" y="407"/>
                    </a:cubicBezTo>
                    <a:cubicBezTo>
                      <a:pt x="44" y="338"/>
                      <a:pt x="63" y="272"/>
                      <a:pt x="99" y="215"/>
                    </a:cubicBezTo>
                    <a:cubicBezTo>
                      <a:pt x="105" y="206"/>
                      <a:pt x="111" y="197"/>
                      <a:pt x="118" y="188"/>
                    </a:cubicBezTo>
                    <a:cubicBezTo>
                      <a:pt x="121" y="184"/>
                      <a:pt x="124" y="180"/>
                      <a:pt x="128" y="175"/>
                    </a:cubicBezTo>
                    <a:cubicBezTo>
                      <a:pt x="131" y="171"/>
                      <a:pt x="135" y="167"/>
                      <a:pt x="139" y="163"/>
                    </a:cubicBezTo>
                    <a:cubicBezTo>
                      <a:pt x="148" y="153"/>
                      <a:pt x="157" y="144"/>
                      <a:pt x="167" y="135"/>
                    </a:cubicBezTo>
                    <a:cubicBezTo>
                      <a:pt x="172" y="131"/>
                      <a:pt x="177" y="126"/>
                      <a:pt x="183" y="122"/>
                    </a:cubicBezTo>
                    <a:cubicBezTo>
                      <a:pt x="186" y="119"/>
                      <a:pt x="190" y="117"/>
                      <a:pt x="193" y="114"/>
                    </a:cubicBezTo>
                    <a:cubicBezTo>
                      <a:pt x="196" y="112"/>
                      <a:pt x="199" y="110"/>
                      <a:pt x="202" y="108"/>
                    </a:cubicBezTo>
                    <a:cubicBezTo>
                      <a:pt x="206" y="105"/>
                      <a:pt x="211" y="102"/>
                      <a:pt x="216" y="99"/>
                    </a:cubicBezTo>
                    <a:cubicBezTo>
                      <a:pt x="219" y="97"/>
                      <a:pt x="222" y="96"/>
                      <a:pt x="225" y="94"/>
                    </a:cubicBezTo>
                    <a:cubicBezTo>
                      <a:pt x="227" y="92"/>
                      <a:pt x="230" y="91"/>
                      <a:pt x="233" y="89"/>
                    </a:cubicBezTo>
                    <a:cubicBezTo>
                      <a:pt x="276" y="66"/>
                      <a:pt x="323" y="51"/>
                      <a:pt x="372" y="47"/>
                    </a:cubicBezTo>
                    <a:cubicBezTo>
                      <a:pt x="373" y="47"/>
                      <a:pt x="373" y="47"/>
                      <a:pt x="373" y="47"/>
                    </a:cubicBezTo>
                    <a:cubicBezTo>
                      <a:pt x="373" y="47"/>
                      <a:pt x="373" y="47"/>
                      <a:pt x="373" y="47"/>
                    </a:cubicBezTo>
                    <a:cubicBezTo>
                      <a:pt x="387" y="45"/>
                      <a:pt x="401" y="44"/>
                      <a:pt x="415" y="44"/>
                    </a:cubicBezTo>
                    <a:cubicBezTo>
                      <a:pt x="432" y="44"/>
                      <a:pt x="450" y="45"/>
                      <a:pt x="467" y="48"/>
                    </a:cubicBezTo>
                    <a:cubicBezTo>
                      <a:pt x="468" y="48"/>
                      <a:pt x="468" y="48"/>
                      <a:pt x="468" y="48"/>
                    </a:cubicBezTo>
                    <a:cubicBezTo>
                      <a:pt x="468" y="48"/>
                      <a:pt x="468" y="48"/>
                      <a:pt x="468" y="48"/>
                    </a:cubicBezTo>
                    <a:cubicBezTo>
                      <a:pt x="477" y="49"/>
                      <a:pt x="485" y="51"/>
                      <a:pt x="493" y="53"/>
                    </a:cubicBezTo>
                    <a:cubicBezTo>
                      <a:pt x="505" y="55"/>
                      <a:pt x="516" y="59"/>
                      <a:pt x="528" y="63"/>
                    </a:cubicBezTo>
                    <a:cubicBezTo>
                      <a:pt x="530" y="64"/>
                      <a:pt x="530" y="64"/>
                      <a:pt x="530" y="64"/>
                    </a:cubicBezTo>
                    <a:cubicBezTo>
                      <a:pt x="534" y="65"/>
                      <a:pt x="534" y="65"/>
                      <a:pt x="534" y="65"/>
                    </a:cubicBezTo>
                    <a:cubicBezTo>
                      <a:pt x="534" y="66"/>
                      <a:pt x="534" y="66"/>
                      <a:pt x="534" y="66"/>
                    </a:cubicBezTo>
                    <a:cubicBezTo>
                      <a:pt x="535" y="66"/>
                      <a:pt x="535" y="66"/>
                      <a:pt x="535" y="66"/>
                    </a:cubicBezTo>
                    <a:cubicBezTo>
                      <a:pt x="535" y="66"/>
                      <a:pt x="535" y="66"/>
                      <a:pt x="535" y="66"/>
                    </a:cubicBezTo>
                    <a:cubicBezTo>
                      <a:pt x="538" y="67"/>
                      <a:pt x="538" y="67"/>
                      <a:pt x="538" y="67"/>
                    </a:cubicBezTo>
                    <a:cubicBezTo>
                      <a:pt x="539" y="67"/>
                      <a:pt x="539" y="67"/>
                      <a:pt x="539" y="67"/>
                    </a:cubicBezTo>
                    <a:cubicBezTo>
                      <a:pt x="539" y="67"/>
                      <a:pt x="539" y="67"/>
                      <a:pt x="539" y="67"/>
                    </a:cubicBezTo>
                    <a:cubicBezTo>
                      <a:pt x="542" y="69"/>
                      <a:pt x="546" y="70"/>
                      <a:pt x="549" y="72"/>
                    </a:cubicBezTo>
                    <a:cubicBezTo>
                      <a:pt x="552" y="72"/>
                      <a:pt x="554" y="73"/>
                      <a:pt x="556" y="74"/>
                    </a:cubicBezTo>
                    <a:cubicBezTo>
                      <a:pt x="559" y="76"/>
                      <a:pt x="563" y="78"/>
                      <a:pt x="567" y="79"/>
                    </a:cubicBezTo>
                    <a:cubicBezTo>
                      <a:pt x="569" y="80"/>
                      <a:pt x="570" y="81"/>
                      <a:pt x="572" y="82"/>
                    </a:cubicBezTo>
                    <a:cubicBezTo>
                      <a:pt x="576" y="84"/>
                      <a:pt x="579" y="86"/>
                      <a:pt x="583" y="88"/>
                    </a:cubicBezTo>
                    <a:cubicBezTo>
                      <a:pt x="585" y="89"/>
                      <a:pt x="587" y="90"/>
                      <a:pt x="589" y="91"/>
                    </a:cubicBezTo>
                    <a:cubicBezTo>
                      <a:pt x="592" y="93"/>
                      <a:pt x="595" y="95"/>
                      <a:pt x="599" y="97"/>
                    </a:cubicBezTo>
                    <a:cubicBezTo>
                      <a:pt x="601" y="98"/>
                      <a:pt x="602" y="99"/>
                      <a:pt x="604" y="100"/>
                    </a:cubicBezTo>
                    <a:cubicBezTo>
                      <a:pt x="607" y="102"/>
                      <a:pt x="611" y="105"/>
                      <a:pt x="614" y="107"/>
                    </a:cubicBezTo>
                    <a:cubicBezTo>
                      <a:pt x="616" y="108"/>
                      <a:pt x="617" y="109"/>
                      <a:pt x="619" y="110"/>
                    </a:cubicBezTo>
                    <a:cubicBezTo>
                      <a:pt x="622" y="113"/>
                      <a:pt x="625" y="115"/>
                      <a:pt x="628" y="117"/>
                    </a:cubicBezTo>
                    <a:cubicBezTo>
                      <a:pt x="630" y="118"/>
                      <a:pt x="632" y="120"/>
                      <a:pt x="634" y="122"/>
                    </a:cubicBezTo>
                    <a:cubicBezTo>
                      <a:pt x="635" y="123"/>
                      <a:pt x="637" y="125"/>
                      <a:pt x="639" y="126"/>
                    </a:cubicBezTo>
                    <a:cubicBezTo>
                      <a:pt x="647" y="132"/>
                      <a:pt x="654" y="139"/>
                      <a:pt x="661" y="146"/>
                    </a:cubicBezTo>
                    <a:cubicBezTo>
                      <a:pt x="661" y="146"/>
                      <a:pt x="661" y="146"/>
                      <a:pt x="661" y="146"/>
                    </a:cubicBezTo>
                    <a:cubicBezTo>
                      <a:pt x="662" y="147"/>
                      <a:pt x="662" y="147"/>
                      <a:pt x="662" y="147"/>
                    </a:cubicBezTo>
                    <a:cubicBezTo>
                      <a:pt x="668" y="153"/>
                      <a:pt x="675" y="160"/>
                      <a:pt x="681" y="166"/>
                    </a:cubicBezTo>
                    <a:cubicBezTo>
                      <a:pt x="682" y="167"/>
                      <a:pt x="682" y="167"/>
                      <a:pt x="683" y="168"/>
                    </a:cubicBezTo>
                    <a:cubicBezTo>
                      <a:pt x="686" y="172"/>
                      <a:pt x="689" y="176"/>
                      <a:pt x="693" y="179"/>
                    </a:cubicBezTo>
                    <a:cubicBezTo>
                      <a:pt x="696" y="183"/>
                      <a:pt x="699" y="187"/>
                      <a:pt x="703" y="191"/>
                    </a:cubicBezTo>
                    <a:cubicBezTo>
                      <a:pt x="704" y="194"/>
                      <a:pt x="707" y="198"/>
                      <a:pt x="713" y="206"/>
                    </a:cubicBezTo>
                    <a:cubicBezTo>
                      <a:pt x="719" y="214"/>
                      <a:pt x="729" y="228"/>
                      <a:pt x="732" y="232"/>
                    </a:cubicBezTo>
                    <a:cubicBezTo>
                      <a:pt x="769" y="289"/>
                      <a:pt x="769" y="289"/>
                      <a:pt x="769" y="289"/>
                    </a:cubicBezTo>
                    <a:cubicBezTo>
                      <a:pt x="806" y="232"/>
                      <a:pt x="806" y="232"/>
                      <a:pt x="806" y="232"/>
                    </a:cubicBezTo>
                    <a:cubicBezTo>
                      <a:pt x="809" y="228"/>
                      <a:pt x="819" y="214"/>
                      <a:pt x="825" y="206"/>
                    </a:cubicBezTo>
                    <a:cubicBezTo>
                      <a:pt x="831" y="198"/>
                      <a:pt x="834" y="194"/>
                      <a:pt x="835" y="191"/>
                    </a:cubicBezTo>
                    <a:cubicBezTo>
                      <a:pt x="848" y="175"/>
                      <a:pt x="862" y="160"/>
                      <a:pt x="876" y="147"/>
                    </a:cubicBezTo>
                    <a:cubicBezTo>
                      <a:pt x="877" y="146"/>
                      <a:pt x="877" y="146"/>
                      <a:pt x="877" y="146"/>
                    </a:cubicBezTo>
                    <a:cubicBezTo>
                      <a:pt x="877" y="146"/>
                      <a:pt x="877" y="146"/>
                      <a:pt x="877" y="146"/>
                    </a:cubicBezTo>
                    <a:cubicBezTo>
                      <a:pt x="884" y="139"/>
                      <a:pt x="891" y="132"/>
                      <a:pt x="899" y="126"/>
                    </a:cubicBezTo>
                    <a:cubicBezTo>
                      <a:pt x="901" y="125"/>
                      <a:pt x="903" y="123"/>
                      <a:pt x="904" y="122"/>
                    </a:cubicBezTo>
                    <a:cubicBezTo>
                      <a:pt x="906" y="120"/>
                      <a:pt x="908" y="118"/>
                      <a:pt x="910" y="117"/>
                    </a:cubicBezTo>
                    <a:cubicBezTo>
                      <a:pt x="913" y="115"/>
                      <a:pt x="916" y="113"/>
                      <a:pt x="919" y="110"/>
                    </a:cubicBezTo>
                    <a:cubicBezTo>
                      <a:pt x="921" y="109"/>
                      <a:pt x="922" y="108"/>
                      <a:pt x="924" y="107"/>
                    </a:cubicBezTo>
                    <a:cubicBezTo>
                      <a:pt x="927" y="105"/>
                      <a:pt x="931" y="102"/>
                      <a:pt x="934" y="100"/>
                    </a:cubicBezTo>
                    <a:cubicBezTo>
                      <a:pt x="936" y="99"/>
                      <a:pt x="937" y="98"/>
                      <a:pt x="939" y="97"/>
                    </a:cubicBezTo>
                    <a:cubicBezTo>
                      <a:pt x="943" y="95"/>
                      <a:pt x="946" y="93"/>
                      <a:pt x="949" y="91"/>
                    </a:cubicBezTo>
                    <a:cubicBezTo>
                      <a:pt x="951" y="90"/>
                      <a:pt x="953" y="89"/>
                      <a:pt x="955" y="88"/>
                    </a:cubicBezTo>
                    <a:cubicBezTo>
                      <a:pt x="959" y="86"/>
                      <a:pt x="962" y="84"/>
                      <a:pt x="966" y="82"/>
                    </a:cubicBezTo>
                    <a:cubicBezTo>
                      <a:pt x="968" y="81"/>
                      <a:pt x="969" y="80"/>
                      <a:pt x="971" y="79"/>
                    </a:cubicBezTo>
                    <a:cubicBezTo>
                      <a:pt x="975" y="78"/>
                      <a:pt x="979" y="76"/>
                      <a:pt x="982" y="74"/>
                    </a:cubicBezTo>
                    <a:cubicBezTo>
                      <a:pt x="984" y="73"/>
                      <a:pt x="986" y="72"/>
                      <a:pt x="989" y="72"/>
                    </a:cubicBezTo>
                    <a:cubicBezTo>
                      <a:pt x="992" y="70"/>
                      <a:pt x="996" y="69"/>
                      <a:pt x="999" y="67"/>
                    </a:cubicBezTo>
                    <a:cubicBezTo>
                      <a:pt x="999" y="67"/>
                      <a:pt x="999" y="67"/>
                      <a:pt x="999" y="67"/>
                    </a:cubicBezTo>
                    <a:cubicBezTo>
                      <a:pt x="1000" y="67"/>
                      <a:pt x="1000" y="67"/>
                      <a:pt x="1000" y="67"/>
                    </a:cubicBezTo>
                    <a:cubicBezTo>
                      <a:pt x="1003" y="66"/>
                      <a:pt x="1003" y="66"/>
                      <a:pt x="1003" y="66"/>
                    </a:cubicBezTo>
                    <a:cubicBezTo>
                      <a:pt x="1003" y="66"/>
                      <a:pt x="1003" y="66"/>
                      <a:pt x="1003" y="66"/>
                    </a:cubicBezTo>
                    <a:cubicBezTo>
                      <a:pt x="1004" y="66"/>
                      <a:pt x="1004" y="66"/>
                      <a:pt x="1004" y="66"/>
                    </a:cubicBezTo>
                    <a:cubicBezTo>
                      <a:pt x="1004" y="65"/>
                      <a:pt x="1004" y="65"/>
                      <a:pt x="1004" y="65"/>
                    </a:cubicBezTo>
                    <a:cubicBezTo>
                      <a:pt x="1008" y="64"/>
                      <a:pt x="1008" y="64"/>
                      <a:pt x="1008" y="64"/>
                    </a:cubicBezTo>
                    <a:cubicBezTo>
                      <a:pt x="1008" y="64"/>
                      <a:pt x="1008" y="64"/>
                      <a:pt x="1008" y="64"/>
                    </a:cubicBezTo>
                    <a:cubicBezTo>
                      <a:pt x="1010" y="63"/>
                      <a:pt x="1010" y="63"/>
                      <a:pt x="1010" y="63"/>
                    </a:cubicBezTo>
                    <a:cubicBezTo>
                      <a:pt x="1010" y="63"/>
                      <a:pt x="1010" y="63"/>
                      <a:pt x="1010" y="63"/>
                    </a:cubicBezTo>
                    <a:cubicBezTo>
                      <a:pt x="1015" y="61"/>
                      <a:pt x="1020" y="60"/>
                      <a:pt x="1024" y="58"/>
                    </a:cubicBezTo>
                    <a:cubicBezTo>
                      <a:pt x="1025" y="58"/>
                      <a:pt x="1025" y="58"/>
                      <a:pt x="1025" y="58"/>
                    </a:cubicBezTo>
                    <a:cubicBezTo>
                      <a:pt x="1030" y="57"/>
                      <a:pt x="1034" y="55"/>
                      <a:pt x="1038" y="54"/>
                    </a:cubicBezTo>
                    <a:cubicBezTo>
                      <a:pt x="1039" y="54"/>
                      <a:pt x="1040" y="54"/>
                      <a:pt x="1040" y="54"/>
                    </a:cubicBezTo>
                    <a:cubicBezTo>
                      <a:pt x="1043" y="53"/>
                      <a:pt x="1046" y="53"/>
                      <a:pt x="1048" y="52"/>
                    </a:cubicBezTo>
                    <a:cubicBezTo>
                      <a:pt x="1056" y="50"/>
                      <a:pt x="1063" y="49"/>
                      <a:pt x="1070" y="48"/>
                    </a:cubicBezTo>
                    <a:cubicBezTo>
                      <a:pt x="1070" y="48"/>
                      <a:pt x="1070" y="48"/>
                      <a:pt x="1070" y="48"/>
                    </a:cubicBezTo>
                    <a:cubicBezTo>
                      <a:pt x="1071" y="48"/>
                      <a:pt x="1071" y="48"/>
                      <a:pt x="1071" y="48"/>
                    </a:cubicBezTo>
                    <a:cubicBezTo>
                      <a:pt x="1088" y="45"/>
                      <a:pt x="1106" y="44"/>
                      <a:pt x="1123" y="44"/>
                    </a:cubicBezTo>
                    <a:cubicBezTo>
                      <a:pt x="1137" y="44"/>
                      <a:pt x="1151" y="45"/>
                      <a:pt x="1165" y="47"/>
                    </a:cubicBezTo>
                    <a:cubicBezTo>
                      <a:pt x="1165" y="47"/>
                      <a:pt x="1165" y="47"/>
                      <a:pt x="1165" y="47"/>
                    </a:cubicBezTo>
                    <a:cubicBezTo>
                      <a:pt x="1166" y="47"/>
                      <a:pt x="1166" y="47"/>
                      <a:pt x="1166" y="47"/>
                    </a:cubicBezTo>
                    <a:cubicBezTo>
                      <a:pt x="1215" y="51"/>
                      <a:pt x="1262" y="66"/>
                      <a:pt x="1305" y="89"/>
                    </a:cubicBezTo>
                    <a:cubicBezTo>
                      <a:pt x="1308" y="91"/>
                      <a:pt x="1311" y="92"/>
                      <a:pt x="1313" y="94"/>
                    </a:cubicBezTo>
                    <a:cubicBezTo>
                      <a:pt x="1316" y="96"/>
                      <a:pt x="1319" y="97"/>
                      <a:pt x="1322" y="99"/>
                    </a:cubicBezTo>
                    <a:cubicBezTo>
                      <a:pt x="1327" y="102"/>
                      <a:pt x="1332" y="105"/>
                      <a:pt x="1336" y="108"/>
                    </a:cubicBezTo>
                    <a:cubicBezTo>
                      <a:pt x="1339" y="110"/>
                      <a:pt x="1342" y="112"/>
                      <a:pt x="1345" y="114"/>
                    </a:cubicBezTo>
                    <a:cubicBezTo>
                      <a:pt x="1348" y="117"/>
                      <a:pt x="1352" y="119"/>
                      <a:pt x="1355" y="122"/>
                    </a:cubicBezTo>
                    <a:cubicBezTo>
                      <a:pt x="1363" y="128"/>
                      <a:pt x="1371" y="135"/>
                      <a:pt x="1379" y="142"/>
                    </a:cubicBezTo>
                    <a:cubicBezTo>
                      <a:pt x="1382" y="145"/>
                      <a:pt x="1386" y="149"/>
                      <a:pt x="1389" y="152"/>
                    </a:cubicBezTo>
                    <a:cubicBezTo>
                      <a:pt x="1393" y="156"/>
                      <a:pt x="1396" y="159"/>
                      <a:pt x="1399" y="163"/>
                    </a:cubicBezTo>
                    <a:cubicBezTo>
                      <a:pt x="1405" y="169"/>
                      <a:pt x="1410" y="175"/>
                      <a:pt x="1415" y="182"/>
                    </a:cubicBezTo>
                    <a:cubicBezTo>
                      <a:pt x="1420" y="188"/>
                      <a:pt x="1425" y="195"/>
                      <a:pt x="1430" y="201"/>
                    </a:cubicBezTo>
                    <a:cubicBezTo>
                      <a:pt x="1433" y="206"/>
                      <a:pt x="1436" y="210"/>
                      <a:pt x="1439" y="215"/>
                    </a:cubicBezTo>
                    <a:cubicBezTo>
                      <a:pt x="1475" y="272"/>
                      <a:pt x="1494" y="338"/>
                      <a:pt x="1494" y="407"/>
                    </a:cubicBezTo>
                    <a:cubicBezTo>
                      <a:pt x="1494" y="407"/>
                      <a:pt x="1494" y="407"/>
                      <a:pt x="1494" y="407"/>
                    </a:cubicBezTo>
                    <a:cubicBezTo>
                      <a:pt x="1494" y="413"/>
                      <a:pt x="1494" y="413"/>
                      <a:pt x="1494" y="413"/>
                    </a:cubicBezTo>
                    <a:cubicBezTo>
                      <a:pt x="1494" y="414"/>
                      <a:pt x="1494" y="414"/>
                      <a:pt x="1494" y="414"/>
                    </a:cubicBezTo>
                    <a:cubicBezTo>
                      <a:pt x="1494" y="414"/>
                      <a:pt x="1494" y="414"/>
                      <a:pt x="1494" y="414"/>
                    </a:cubicBezTo>
                    <a:cubicBezTo>
                      <a:pt x="1494" y="415"/>
                      <a:pt x="1494" y="415"/>
                      <a:pt x="1494" y="415"/>
                    </a:cubicBezTo>
                    <a:cubicBezTo>
                      <a:pt x="1494" y="417"/>
                      <a:pt x="1494" y="417"/>
                      <a:pt x="1494" y="417"/>
                    </a:cubicBezTo>
                    <a:cubicBezTo>
                      <a:pt x="1494" y="417"/>
                      <a:pt x="1494" y="417"/>
                      <a:pt x="1494" y="417"/>
                    </a:cubicBezTo>
                    <a:cubicBezTo>
                      <a:pt x="1494" y="417"/>
                      <a:pt x="1494" y="417"/>
                      <a:pt x="1494" y="417"/>
                    </a:cubicBezTo>
                    <a:cubicBezTo>
                      <a:pt x="1494" y="417"/>
                      <a:pt x="1494" y="417"/>
                      <a:pt x="1494" y="417"/>
                    </a:cubicBezTo>
                    <a:cubicBezTo>
                      <a:pt x="1494" y="419"/>
                      <a:pt x="1494" y="421"/>
                      <a:pt x="1494" y="422"/>
                    </a:cubicBezTo>
                    <a:cubicBezTo>
                      <a:pt x="1494" y="422"/>
                      <a:pt x="1494" y="422"/>
                      <a:pt x="1494" y="422"/>
                    </a:cubicBezTo>
                    <a:cubicBezTo>
                      <a:pt x="1494" y="424"/>
                      <a:pt x="1494" y="425"/>
                      <a:pt x="1494" y="426"/>
                    </a:cubicBez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9" name="bcgIcons_Payment ">
            <a:extLst>
              <a:ext uri="{FF2B5EF4-FFF2-40B4-BE49-F238E27FC236}">
                <a16:creationId xmlns:a16="http://schemas.microsoft.com/office/drawing/2014/main" id="{A2AB1399-3943-460C-A544-DB8D0B0B1BA3}"/>
              </a:ext>
            </a:extLst>
          </p:cNvPr>
          <p:cNvGrpSpPr>
            <a:grpSpLocks noChangeAspect="1"/>
          </p:cNvGrpSpPr>
          <p:nvPr/>
        </p:nvGrpSpPr>
        <p:grpSpPr>
          <a:xfrm>
            <a:off x="5673478" y="2626789"/>
            <a:ext cx="1276576" cy="1275345"/>
            <a:chOff x="6464300" y="2645981"/>
            <a:chExt cx="1646238" cy="1644650"/>
          </a:xfrm>
        </p:grpSpPr>
        <p:sp>
          <p:nvSpPr>
            <p:cNvPr id="90" name="AutoShape 3">
              <a:extLst>
                <a:ext uri="{FF2B5EF4-FFF2-40B4-BE49-F238E27FC236}">
                  <a16:creationId xmlns:a16="http://schemas.microsoft.com/office/drawing/2014/main" id="{FA11FC50-C4FF-44EA-B978-55B08F329676}"/>
                </a:ext>
              </a:extLst>
            </p:cNvPr>
            <p:cNvSpPr>
              <a:spLocks noChangeAspect="1" noChangeArrowheads="1" noTextEdit="1"/>
            </p:cNvSpPr>
            <p:nvPr/>
          </p:nvSpPr>
          <p:spPr bwMode="auto">
            <a:xfrm>
              <a:off x="6464300" y="2645981"/>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0E384F5A-E1BB-4C0C-B677-918934CF7A4C}"/>
                </a:ext>
              </a:extLst>
            </p:cNvPr>
            <p:cNvGrpSpPr/>
            <p:nvPr/>
          </p:nvGrpSpPr>
          <p:grpSpPr>
            <a:xfrm>
              <a:off x="6729413" y="2881312"/>
              <a:ext cx="1146175" cy="1125538"/>
              <a:chOff x="6729413" y="2881312"/>
              <a:chExt cx="1146175" cy="1125538"/>
            </a:xfrm>
          </p:grpSpPr>
          <p:sp>
            <p:nvSpPr>
              <p:cNvPr id="92" name="Freeform 10">
                <a:extLst>
                  <a:ext uri="{FF2B5EF4-FFF2-40B4-BE49-F238E27FC236}">
                    <a16:creationId xmlns:a16="http://schemas.microsoft.com/office/drawing/2014/main" id="{53C9F1EB-BE7B-44E5-B0DB-3497D0AD7FBF}"/>
                  </a:ext>
                </a:extLst>
              </p:cNvPr>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523178"/>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3" name="Freeform 11">
                <a:extLst>
                  <a:ext uri="{FF2B5EF4-FFF2-40B4-BE49-F238E27FC236}">
                    <a16:creationId xmlns:a16="http://schemas.microsoft.com/office/drawing/2014/main" id="{CD16254E-2D52-4BBB-B3D3-2DC3B4D7B1AB}"/>
                  </a:ext>
                </a:extLst>
              </p:cNvPr>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2F1C4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94" name="bcgIcons_Doctor gender-neutral ">
            <a:extLst>
              <a:ext uri="{FF2B5EF4-FFF2-40B4-BE49-F238E27FC236}">
                <a16:creationId xmlns:a16="http://schemas.microsoft.com/office/drawing/2014/main" id="{69DA80E1-5BBD-4F11-B4C3-1F7147C7A9F7}"/>
              </a:ext>
            </a:extLst>
          </p:cNvPr>
          <p:cNvGrpSpPr>
            <a:grpSpLocks noChangeAspect="1"/>
          </p:cNvGrpSpPr>
          <p:nvPr/>
        </p:nvGrpSpPr>
        <p:grpSpPr bwMode="auto">
          <a:xfrm>
            <a:off x="9760779" y="2553948"/>
            <a:ext cx="1274165" cy="1275345"/>
            <a:chOff x="1682" y="0"/>
            <a:chExt cx="4316" cy="4320"/>
          </a:xfrm>
        </p:grpSpPr>
        <p:sp>
          <p:nvSpPr>
            <p:cNvPr id="95" name="AutoShape 3">
              <a:extLst>
                <a:ext uri="{FF2B5EF4-FFF2-40B4-BE49-F238E27FC236}">
                  <a16:creationId xmlns:a16="http://schemas.microsoft.com/office/drawing/2014/main" id="{C2451A41-F67B-4F19-8541-EF845CC3AB8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5">
              <a:extLst>
                <a:ext uri="{FF2B5EF4-FFF2-40B4-BE49-F238E27FC236}">
                  <a16:creationId xmlns:a16="http://schemas.microsoft.com/office/drawing/2014/main" id="{E3E6C9CD-4A38-40CD-A005-F8294B1E8D4F}"/>
                </a:ext>
              </a:extLst>
            </p:cNvPr>
            <p:cNvSpPr>
              <a:spLocks/>
            </p:cNvSpPr>
            <p:nvPr/>
          </p:nvSpPr>
          <p:spPr bwMode="auto">
            <a:xfrm>
              <a:off x="3012" y="564"/>
              <a:ext cx="1727" cy="1313"/>
            </a:xfrm>
            <a:custGeom>
              <a:avLst/>
              <a:gdLst>
                <a:gd name="T0" fmla="*/ 890 w 922"/>
                <a:gd name="T1" fmla="*/ 537 h 700"/>
                <a:gd name="T2" fmla="*/ 922 w 922"/>
                <a:gd name="T3" fmla="*/ 635 h 700"/>
                <a:gd name="T4" fmla="*/ 786 w 922"/>
                <a:gd name="T5" fmla="*/ 675 h 700"/>
                <a:gd name="T6" fmla="*/ 244 w 922"/>
                <a:gd name="T7" fmla="*/ 354 h 700"/>
                <a:gd name="T8" fmla="*/ 201 w 922"/>
                <a:gd name="T9" fmla="*/ 380 h 700"/>
                <a:gd name="T10" fmla="*/ 25 w 922"/>
                <a:gd name="T11" fmla="*/ 638 h 700"/>
                <a:gd name="T12" fmla="*/ 0 w 922"/>
                <a:gd name="T13" fmla="*/ 452 h 700"/>
                <a:gd name="T14" fmla="*/ 446 w 922"/>
                <a:gd name="T15" fmla="*/ 0 h 700"/>
                <a:gd name="T16" fmla="*/ 892 w 922"/>
                <a:gd name="T17" fmla="*/ 452 h 700"/>
                <a:gd name="T18" fmla="*/ 890 w 922"/>
                <a:gd name="T19" fmla="*/ 537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2" h="700">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6">
              <a:extLst>
                <a:ext uri="{FF2B5EF4-FFF2-40B4-BE49-F238E27FC236}">
                  <a16:creationId xmlns:a16="http://schemas.microsoft.com/office/drawing/2014/main" id="{38887DD8-3781-407E-B4EC-6EC8117BDFCE}"/>
                </a:ext>
              </a:extLst>
            </p:cNvPr>
            <p:cNvSpPr>
              <a:spLocks noEditPoints="1"/>
            </p:cNvSpPr>
            <p:nvPr/>
          </p:nvSpPr>
          <p:spPr bwMode="auto">
            <a:xfrm>
              <a:off x="2150" y="1802"/>
              <a:ext cx="3383" cy="1869"/>
            </a:xfrm>
            <a:custGeom>
              <a:avLst/>
              <a:gdLst>
                <a:gd name="T0" fmla="*/ 722 w 1806"/>
                <a:gd name="T1" fmla="*/ 997 h 997"/>
                <a:gd name="T2" fmla="*/ 5 w 1806"/>
                <a:gd name="T3" fmla="*/ 967 h 997"/>
                <a:gd name="T4" fmla="*/ 611 w 1806"/>
                <a:gd name="T5" fmla="*/ 584 h 997"/>
                <a:gd name="T6" fmla="*/ 863 w 1806"/>
                <a:gd name="T7" fmla="*/ 872 h 997"/>
                <a:gd name="T8" fmla="*/ 773 w 1806"/>
                <a:gd name="T9" fmla="*/ 997 h 997"/>
                <a:gd name="T10" fmla="*/ 1583 w 1806"/>
                <a:gd name="T11" fmla="*/ 650 h 997"/>
                <a:gd name="T12" fmla="*/ 1780 w 1806"/>
                <a:gd name="T13" fmla="*/ 997 h 997"/>
                <a:gd name="T14" fmla="*/ 1369 w 1806"/>
                <a:gd name="T15" fmla="*/ 804 h 997"/>
                <a:gd name="T16" fmla="*/ 1320 w 1806"/>
                <a:gd name="T17" fmla="*/ 795 h 997"/>
                <a:gd name="T18" fmla="*/ 1311 w 1806"/>
                <a:gd name="T19" fmla="*/ 746 h 997"/>
                <a:gd name="T20" fmla="*/ 1269 w 1806"/>
                <a:gd name="T21" fmla="*/ 755 h 997"/>
                <a:gd name="T22" fmla="*/ 1260 w 1806"/>
                <a:gd name="T23" fmla="*/ 804 h 997"/>
                <a:gd name="T24" fmla="*/ 1211 w 1806"/>
                <a:gd name="T25" fmla="*/ 814 h 997"/>
                <a:gd name="T26" fmla="*/ 1220 w 1806"/>
                <a:gd name="T27" fmla="*/ 855 h 997"/>
                <a:gd name="T28" fmla="*/ 1269 w 1806"/>
                <a:gd name="T29" fmla="*/ 865 h 997"/>
                <a:gd name="T30" fmla="*/ 1279 w 1806"/>
                <a:gd name="T31" fmla="*/ 914 h 997"/>
                <a:gd name="T32" fmla="*/ 1320 w 1806"/>
                <a:gd name="T33" fmla="*/ 904 h 997"/>
                <a:gd name="T34" fmla="*/ 1330 w 1806"/>
                <a:gd name="T35" fmla="*/ 855 h 997"/>
                <a:gd name="T36" fmla="*/ 1379 w 1806"/>
                <a:gd name="T37" fmla="*/ 846 h 997"/>
                <a:gd name="T38" fmla="*/ 1300 w 1806"/>
                <a:gd name="T39" fmla="*/ 61 h 997"/>
                <a:gd name="T40" fmla="*/ 1252 w 1806"/>
                <a:gd name="T41" fmla="*/ 111 h 997"/>
                <a:gd name="T42" fmla="*/ 904 w 1806"/>
                <a:gd name="T43" fmla="*/ 502 h 997"/>
                <a:gd name="T44" fmla="*/ 556 w 1806"/>
                <a:gd name="T45" fmla="*/ 111 h 997"/>
                <a:gd name="T46" fmla="*/ 497 w 1806"/>
                <a:gd name="T47" fmla="*/ 26 h 997"/>
                <a:gd name="T48" fmla="*/ 456 w 1806"/>
                <a:gd name="T49" fmla="*/ 11 h 997"/>
                <a:gd name="T50" fmla="*/ 518 w 1806"/>
                <a:gd name="T51" fmla="*/ 135 h 997"/>
                <a:gd name="T52" fmla="*/ 655 w 1806"/>
                <a:gd name="T53" fmla="*/ 568 h 997"/>
                <a:gd name="T54" fmla="*/ 699 w 1806"/>
                <a:gd name="T55" fmla="*/ 458 h 997"/>
                <a:gd name="T56" fmla="*/ 1107 w 1806"/>
                <a:gd name="T57" fmla="*/ 459 h 997"/>
                <a:gd name="T58" fmla="*/ 1151 w 1806"/>
                <a:gd name="T59" fmla="*/ 568 h 997"/>
                <a:gd name="T60" fmla="*/ 1290 w 1806"/>
                <a:gd name="T61" fmla="*/ 134 h 997"/>
                <a:gd name="T62" fmla="*/ 1300 w 1806"/>
                <a:gd name="T63" fmla="*/ 6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6" h="997">
                  <a:moveTo>
                    <a:pt x="863" y="872"/>
                  </a:moveTo>
                  <a:cubicBezTo>
                    <a:pt x="722" y="997"/>
                    <a:pt x="722" y="997"/>
                    <a:pt x="722" y="997"/>
                  </a:cubicBezTo>
                  <a:cubicBezTo>
                    <a:pt x="26" y="997"/>
                    <a:pt x="26" y="997"/>
                    <a:pt x="26" y="997"/>
                  </a:cubicBezTo>
                  <a:cubicBezTo>
                    <a:pt x="10" y="997"/>
                    <a:pt x="0" y="981"/>
                    <a:pt x="5" y="967"/>
                  </a:cubicBezTo>
                  <a:cubicBezTo>
                    <a:pt x="33" y="893"/>
                    <a:pt x="113" y="700"/>
                    <a:pt x="223" y="650"/>
                  </a:cubicBezTo>
                  <a:cubicBezTo>
                    <a:pt x="359" y="587"/>
                    <a:pt x="611" y="584"/>
                    <a:pt x="611" y="584"/>
                  </a:cubicBezTo>
                  <a:cubicBezTo>
                    <a:pt x="611" y="584"/>
                    <a:pt x="611" y="584"/>
                    <a:pt x="611" y="584"/>
                  </a:cubicBezTo>
                  <a:lnTo>
                    <a:pt x="863" y="872"/>
                  </a:lnTo>
                  <a:close/>
                  <a:moveTo>
                    <a:pt x="1780" y="997"/>
                  </a:moveTo>
                  <a:cubicBezTo>
                    <a:pt x="773" y="997"/>
                    <a:pt x="773" y="997"/>
                    <a:pt x="773" y="997"/>
                  </a:cubicBezTo>
                  <a:cubicBezTo>
                    <a:pt x="773" y="997"/>
                    <a:pt x="1231" y="585"/>
                    <a:pt x="1232" y="585"/>
                  </a:cubicBezTo>
                  <a:cubicBezTo>
                    <a:pt x="1307" y="588"/>
                    <a:pt x="1479" y="601"/>
                    <a:pt x="1583" y="650"/>
                  </a:cubicBezTo>
                  <a:cubicBezTo>
                    <a:pt x="1693" y="700"/>
                    <a:pt x="1773" y="893"/>
                    <a:pt x="1801" y="967"/>
                  </a:cubicBezTo>
                  <a:cubicBezTo>
                    <a:pt x="1806" y="981"/>
                    <a:pt x="1796" y="997"/>
                    <a:pt x="1780" y="997"/>
                  </a:cubicBezTo>
                  <a:close/>
                  <a:moveTo>
                    <a:pt x="1379" y="814"/>
                  </a:moveTo>
                  <a:cubicBezTo>
                    <a:pt x="1379" y="809"/>
                    <a:pt x="1374" y="804"/>
                    <a:pt x="1369" y="804"/>
                  </a:cubicBezTo>
                  <a:cubicBezTo>
                    <a:pt x="1330" y="804"/>
                    <a:pt x="1330" y="804"/>
                    <a:pt x="1330" y="804"/>
                  </a:cubicBezTo>
                  <a:cubicBezTo>
                    <a:pt x="1324" y="804"/>
                    <a:pt x="1320" y="800"/>
                    <a:pt x="1320" y="795"/>
                  </a:cubicBezTo>
                  <a:cubicBezTo>
                    <a:pt x="1320" y="755"/>
                    <a:pt x="1320" y="755"/>
                    <a:pt x="1320" y="755"/>
                  </a:cubicBezTo>
                  <a:cubicBezTo>
                    <a:pt x="1320" y="750"/>
                    <a:pt x="1316" y="746"/>
                    <a:pt x="1311" y="746"/>
                  </a:cubicBezTo>
                  <a:cubicBezTo>
                    <a:pt x="1279" y="746"/>
                    <a:pt x="1279" y="746"/>
                    <a:pt x="1279" y="746"/>
                  </a:cubicBezTo>
                  <a:cubicBezTo>
                    <a:pt x="1273" y="746"/>
                    <a:pt x="1269" y="750"/>
                    <a:pt x="1269" y="755"/>
                  </a:cubicBezTo>
                  <a:cubicBezTo>
                    <a:pt x="1269" y="795"/>
                    <a:pt x="1269" y="795"/>
                    <a:pt x="1269" y="795"/>
                  </a:cubicBezTo>
                  <a:cubicBezTo>
                    <a:pt x="1269" y="800"/>
                    <a:pt x="1265" y="804"/>
                    <a:pt x="1260" y="804"/>
                  </a:cubicBezTo>
                  <a:cubicBezTo>
                    <a:pt x="1220" y="804"/>
                    <a:pt x="1220" y="804"/>
                    <a:pt x="1220" y="804"/>
                  </a:cubicBezTo>
                  <a:cubicBezTo>
                    <a:pt x="1215" y="804"/>
                    <a:pt x="1211" y="809"/>
                    <a:pt x="1211" y="814"/>
                  </a:cubicBezTo>
                  <a:cubicBezTo>
                    <a:pt x="1211" y="846"/>
                    <a:pt x="1211" y="846"/>
                    <a:pt x="1211" y="846"/>
                  </a:cubicBezTo>
                  <a:cubicBezTo>
                    <a:pt x="1211" y="851"/>
                    <a:pt x="1215" y="855"/>
                    <a:pt x="1220" y="855"/>
                  </a:cubicBezTo>
                  <a:cubicBezTo>
                    <a:pt x="1260" y="855"/>
                    <a:pt x="1260" y="855"/>
                    <a:pt x="1260" y="855"/>
                  </a:cubicBezTo>
                  <a:cubicBezTo>
                    <a:pt x="1265" y="855"/>
                    <a:pt x="1269" y="859"/>
                    <a:pt x="1269" y="865"/>
                  </a:cubicBezTo>
                  <a:cubicBezTo>
                    <a:pt x="1269" y="904"/>
                    <a:pt x="1269" y="904"/>
                    <a:pt x="1269" y="904"/>
                  </a:cubicBezTo>
                  <a:cubicBezTo>
                    <a:pt x="1269" y="910"/>
                    <a:pt x="1273" y="914"/>
                    <a:pt x="1279" y="914"/>
                  </a:cubicBezTo>
                  <a:cubicBezTo>
                    <a:pt x="1311" y="914"/>
                    <a:pt x="1311" y="914"/>
                    <a:pt x="1311" y="914"/>
                  </a:cubicBezTo>
                  <a:cubicBezTo>
                    <a:pt x="1316" y="914"/>
                    <a:pt x="1320" y="910"/>
                    <a:pt x="1320" y="904"/>
                  </a:cubicBezTo>
                  <a:cubicBezTo>
                    <a:pt x="1320" y="865"/>
                    <a:pt x="1320" y="865"/>
                    <a:pt x="1320" y="865"/>
                  </a:cubicBezTo>
                  <a:cubicBezTo>
                    <a:pt x="1320" y="859"/>
                    <a:pt x="1324" y="855"/>
                    <a:pt x="1330" y="855"/>
                  </a:cubicBezTo>
                  <a:cubicBezTo>
                    <a:pt x="1369" y="855"/>
                    <a:pt x="1369" y="855"/>
                    <a:pt x="1369" y="855"/>
                  </a:cubicBezTo>
                  <a:cubicBezTo>
                    <a:pt x="1374" y="855"/>
                    <a:pt x="1379" y="851"/>
                    <a:pt x="1379" y="846"/>
                  </a:cubicBezTo>
                  <a:lnTo>
                    <a:pt x="1379" y="814"/>
                  </a:lnTo>
                  <a:close/>
                  <a:moveTo>
                    <a:pt x="1300" y="61"/>
                  </a:moveTo>
                  <a:cubicBezTo>
                    <a:pt x="1292" y="76"/>
                    <a:pt x="1281" y="90"/>
                    <a:pt x="1262" y="99"/>
                  </a:cubicBezTo>
                  <a:cubicBezTo>
                    <a:pt x="1258" y="102"/>
                    <a:pt x="1254" y="106"/>
                    <a:pt x="1252" y="111"/>
                  </a:cubicBezTo>
                  <a:cubicBezTo>
                    <a:pt x="1214" y="208"/>
                    <a:pt x="1143" y="372"/>
                    <a:pt x="1116" y="396"/>
                  </a:cubicBezTo>
                  <a:cubicBezTo>
                    <a:pt x="1075" y="432"/>
                    <a:pt x="963" y="502"/>
                    <a:pt x="904" y="502"/>
                  </a:cubicBezTo>
                  <a:cubicBezTo>
                    <a:pt x="844" y="502"/>
                    <a:pt x="732" y="432"/>
                    <a:pt x="691" y="396"/>
                  </a:cubicBezTo>
                  <a:cubicBezTo>
                    <a:pt x="664" y="372"/>
                    <a:pt x="594" y="208"/>
                    <a:pt x="556" y="111"/>
                  </a:cubicBezTo>
                  <a:cubicBezTo>
                    <a:pt x="553" y="105"/>
                    <a:pt x="548" y="100"/>
                    <a:pt x="542" y="98"/>
                  </a:cubicBezTo>
                  <a:cubicBezTo>
                    <a:pt x="516" y="88"/>
                    <a:pt x="503" y="54"/>
                    <a:pt x="497" y="26"/>
                  </a:cubicBezTo>
                  <a:cubicBezTo>
                    <a:pt x="497" y="26"/>
                    <a:pt x="496" y="26"/>
                    <a:pt x="495" y="26"/>
                  </a:cubicBezTo>
                  <a:cubicBezTo>
                    <a:pt x="486" y="26"/>
                    <a:pt x="468" y="26"/>
                    <a:pt x="456" y="11"/>
                  </a:cubicBezTo>
                  <a:cubicBezTo>
                    <a:pt x="454" y="7"/>
                    <a:pt x="452" y="3"/>
                    <a:pt x="450" y="0"/>
                  </a:cubicBezTo>
                  <a:cubicBezTo>
                    <a:pt x="451" y="32"/>
                    <a:pt x="464" y="108"/>
                    <a:pt x="518" y="135"/>
                  </a:cubicBezTo>
                  <a:cubicBezTo>
                    <a:pt x="540" y="191"/>
                    <a:pt x="613" y="372"/>
                    <a:pt x="655" y="421"/>
                  </a:cubicBezTo>
                  <a:cubicBezTo>
                    <a:pt x="655" y="568"/>
                    <a:pt x="655" y="568"/>
                    <a:pt x="655" y="568"/>
                  </a:cubicBezTo>
                  <a:cubicBezTo>
                    <a:pt x="663" y="578"/>
                    <a:pt x="678" y="593"/>
                    <a:pt x="699" y="609"/>
                  </a:cubicBezTo>
                  <a:cubicBezTo>
                    <a:pt x="699" y="458"/>
                    <a:pt x="699" y="458"/>
                    <a:pt x="699" y="458"/>
                  </a:cubicBezTo>
                  <a:cubicBezTo>
                    <a:pt x="755" y="498"/>
                    <a:pt x="843" y="546"/>
                    <a:pt x="904" y="546"/>
                  </a:cubicBezTo>
                  <a:cubicBezTo>
                    <a:pt x="963" y="546"/>
                    <a:pt x="1051" y="498"/>
                    <a:pt x="1107" y="459"/>
                  </a:cubicBezTo>
                  <a:cubicBezTo>
                    <a:pt x="1107" y="609"/>
                    <a:pt x="1107" y="609"/>
                    <a:pt x="1107" y="609"/>
                  </a:cubicBezTo>
                  <a:cubicBezTo>
                    <a:pt x="1128" y="593"/>
                    <a:pt x="1143" y="578"/>
                    <a:pt x="1151" y="568"/>
                  </a:cubicBezTo>
                  <a:cubicBezTo>
                    <a:pt x="1151" y="423"/>
                    <a:pt x="1151" y="423"/>
                    <a:pt x="1151" y="423"/>
                  </a:cubicBezTo>
                  <a:cubicBezTo>
                    <a:pt x="1193" y="375"/>
                    <a:pt x="1268" y="189"/>
                    <a:pt x="1290" y="134"/>
                  </a:cubicBezTo>
                  <a:cubicBezTo>
                    <a:pt x="1332" y="109"/>
                    <a:pt x="1347" y="68"/>
                    <a:pt x="1353" y="42"/>
                  </a:cubicBezTo>
                  <a:cubicBezTo>
                    <a:pt x="1337" y="50"/>
                    <a:pt x="1319" y="57"/>
                    <a:pt x="1300" y="61"/>
                  </a:cubicBez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8" name="bcgIcons_Crossroads A ">
            <a:extLst>
              <a:ext uri="{FF2B5EF4-FFF2-40B4-BE49-F238E27FC236}">
                <a16:creationId xmlns:a16="http://schemas.microsoft.com/office/drawing/2014/main" id="{90676E83-4488-4929-BD9F-005018CFD1DE}"/>
              </a:ext>
            </a:extLst>
          </p:cNvPr>
          <p:cNvGrpSpPr>
            <a:grpSpLocks noChangeAspect="1"/>
          </p:cNvGrpSpPr>
          <p:nvPr/>
        </p:nvGrpSpPr>
        <p:grpSpPr bwMode="auto">
          <a:xfrm>
            <a:off x="5655547" y="4578962"/>
            <a:ext cx="1274164" cy="1275345"/>
            <a:chOff x="1682" y="0"/>
            <a:chExt cx="4316" cy="4320"/>
          </a:xfrm>
        </p:grpSpPr>
        <p:sp>
          <p:nvSpPr>
            <p:cNvPr id="99" name="AutoShape 18">
              <a:extLst>
                <a:ext uri="{FF2B5EF4-FFF2-40B4-BE49-F238E27FC236}">
                  <a16:creationId xmlns:a16="http://schemas.microsoft.com/office/drawing/2014/main" id="{68ECE0A1-9E85-4390-9CB0-C97B21B6F31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20">
              <a:extLst>
                <a:ext uri="{FF2B5EF4-FFF2-40B4-BE49-F238E27FC236}">
                  <a16:creationId xmlns:a16="http://schemas.microsoft.com/office/drawing/2014/main" id="{57AF4C12-8942-48C9-BF8F-6048137CC270}"/>
                </a:ext>
              </a:extLst>
            </p:cNvPr>
            <p:cNvSpPr>
              <a:spLocks noEditPoints="1"/>
            </p:cNvSpPr>
            <p:nvPr/>
          </p:nvSpPr>
          <p:spPr bwMode="auto">
            <a:xfrm>
              <a:off x="3555" y="454"/>
              <a:ext cx="611" cy="3474"/>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rgbClr val="2F1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21">
              <a:extLst>
                <a:ext uri="{FF2B5EF4-FFF2-40B4-BE49-F238E27FC236}">
                  <a16:creationId xmlns:a16="http://schemas.microsoft.com/office/drawing/2014/main" id="{D201534F-4D4F-458A-8132-B375A185F1DD}"/>
                </a:ext>
              </a:extLst>
            </p:cNvPr>
            <p:cNvSpPr>
              <a:spLocks noEditPoints="1"/>
            </p:cNvSpPr>
            <p:nvPr/>
          </p:nvSpPr>
          <p:spPr bwMode="auto">
            <a:xfrm>
              <a:off x="2473" y="891"/>
              <a:ext cx="2776" cy="1775"/>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rgbClr val="523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2" name="bcgIcons_Family of Four ">
            <a:extLst>
              <a:ext uri="{FF2B5EF4-FFF2-40B4-BE49-F238E27FC236}">
                <a16:creationId xmlns:a16="http://schemas.microsoft.com/office/drawing/2014/main" id="{55349E2F-C84F-4F5B-A83F-906E09EB7BFA}"/>
              </a:ext>
            </a:extLst>
          </p:cNvPr>
          <p:cNvGrpSpPr>
            <a:grpSpLocks noChangeAspect="1"/>
          </p:cNvGrpSpPr>
          <p:nvPr/>
        </p:nvGrpSpPr>
        <p:grpSpPr>
          <a:xfrm>
            <a:off x="9696456" y="4470322"/>
            <a:ext cx="1274164" cy="1275345"/>
            <a:chOff x="5273801" y="2606040"/>
            <a:chExt cx="1644396" cy="1645920"/>
          </a:xfrm>
        </p:grpSpPr>
        <p:sp>
          <p:nvSpPr>
            <p:cNvPr id="103" name="AutoShape 3">
              <a:extLst>
                <a:ext uri="{FF2B5EF4-FFF2-40B4-BE49-F238E27FC236}">
                  <a16:creationId xmlns:a16="http://schemas.microsoft.com/office/drawing/2014/main" id="{6478B45B-D15E-48A5-95BD-A91A30EFD5F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4" name="Group 103">
              <a:extLst>
                <a:ext uri="{FF2B5EF4-FFF2-40B4-BE49-F238E27FC236}">
                  <a16:creationId xmlns:a16="http://schemas.microsoft.com/office/drawing/2014/main" id="{C9E35BAB-E50E-4CD1-84CE-0E001557B9FD}"/>
                </a:ext>
              </a:extLst>
            </p:cNvPr>
            <p:cNvGrpSpPr/>
            <p:nvPr/>
          </p:nvGrpSpPr>
          <p:grpSpPr>
            <a:xfrm>
              <a:off x="5336392" y="2746247"/>
              <a:ext cx="1517035" cy="1335025"/>
              <a:chOff x="5336392" y="2746247"/>
              <a:chExt cx="1517035" cy="1335025"/>
            </a:xfrm>
          </p:grpSpPr>
          <p:sp>
            <p:nvSpPr>
              <p:cNvPr id="105" name="Freeform 24">
                <a:extLst>
                  <a:ext uri="{FF2B5EF4-FFF2-40B4-BE49-F238E27FC236}">
                    <a16:creationId xmlns:a16="http://schemas.microsoft.com/office/drawing/2014/main" id="{5D3B5469-8755-4BB4-9604-EE7CBC821743}"/>
                  </a:ext>
                </a:extLst>
              </p:cNvPr>
              <p:cNvSpPr>
                <a:spLocks/>
              </p:cNvSpPr>
              <p:nvPr/>
            </p:nvSpPr>
            <p:spPr bwMode="auto">
              <a:xfrm>
                <a:off x="5456603" y="2746247"/>
                <a:ext cx="1240211" cy="1335024"/>
              </a:xfrm>
              <a:custGeom>
                <a:avLst/>
                <a:gdLst>
                  <a:gd name="connsiteX0" fmla="*/ 803963 w 1240211"/>
                  <a:gd name="connsiteY0" fmla="*/ 1194495 h 1335024"/>
                  <a:gd name="connsiteX1" fmla="*/ 933909 w 1240211"/>
                  <a:gd name="connsiteY1" fmla="*/ 1255129 h 1335024"/>
                  <a:gd name="connsiteX2" fmla="*/ 1061713 w 1240211"/>
                  <a:gd name="connsiteY2" fmla="*/ 1194495 h 1335024"/>
                  <a:gd name="connsiteX3" fmla="*/ 1239497 w 1240211"/>
                  <a:gd name="connsiteY3" fmla="*/ 1322184 h 1335024"/>
                  <a:gd name="connsiteX4" fmla="*/ 1240211 w 1240211"/>
                  <a:gd name="connsiteY4" fmla="*/ 1325037 h 1335024"/>
                  <a:gd name="connsiteX5" fmla="*/ 1230929 w 1240211"/>
                  <a:gd name="connsiteY5" fmla="*/ 1335024 h 1335024"/>
                  <a:gd name="connsiteX6" fmla="*/ 689723 w 1240211"/>
                  <a:gd name="connsiteY6" fmla="*/ 1335024 h 1335024"/>
                  <a:gd name="connsiteX7" fmla="*/ 691151 w 1240211"/>
                  <a:gd name="connsiteY7" fmla="*/ 1321471 h 1335024"/>
                  <a:gd name="connsiteX8" fmla="*/ 690437 w 1240211"/>
                  <a:gd name="connsiteY8" fmla="*/ 1318617 h 1335024"/>
                  <a:gd name="connsiteX9" fmla="*/ 661164 w 1240211"/>
                  <a:gd name="connsiteY9" fmla="*/ 1248709 h 1335024"/>
                  <a:gd name="connsiteX10" fmla="*/ 803963 w 1240211"/>
                  <a:gd name="connsiteY10" fmla="*/ 1194495 h 1335024"/>
                  <a:gd name="connsiteX11" fmla="*/ 223231 w 1240211"/>
                  <a:gd name="connsiteY11" fmla="*/ 1194495 h 1335024"/>
                  <a:gd name="connsiteX12" fmla="*/ 353214 w 1240211"/>
                  <a:gd name="connsiteY12" fmla="*/ 1255129 h 1335024"/>
                  <a:gd name="connsiteX13" fmla="*/ 481054 w 1240211"/>
                  <a:gd name="connsiteY13" fmla="*/ 1194495 h 1335024"/>
                  <a:gd name="connsiteX14" fmla="*/ 659603 w 1240211"/>
                  <a:gd name="connsiteY14" fmla="*/ 1322184 h 1335024"/>
                  <a:gd name="connsiteX15" fmla="*/ 659603 w 1240211"/>
                  <a:gd name="connsiteY15" fmla="*/ 1325037 h 1335024"/>
                  <a:gd name="connsiteX16" fmla="*/ 650318 w 1240211"/>
                  <a:gd name="connsiteY16" fmla="*/ 1335024 h 1335024"/>
                  <a:gd name="connsiteX17" fmla="*/ 57538 w 1240211"/>
                  <a:gd name="connsiteY17" fmla="*/ 1335024 h 1335024"/>
                  <a:gd name="connsiteX18" fmla="*/ 48968 w 1240211"/>
                  <a:gd name="connsiteY18" fmla="*/ 1325037 h 1335024"/>
                  <a:gd name="connsiteX19" fmla="*/ 49682 w 1240211"/>
                  <a:gd name="connsiteY19" fmla="*/ 1314337 h 1335024"/>
                  <a:gd name="connsiteX20" fmla="*/ 223231 w 1240211"/>
                  <a:gd name="connsiteY20" fmla="*/ 1194495 h 1335024"/>
                  <a:gd name="connsiteX21" fmla="*/ 562116 w 1240211"/>
                  <a:gd name="connsiteY21" fmla="*/ 806771 h 1335024"/>
                  <a:gd name="connsiteX22" fmla="*/ 708571 w 1240211"/>
                  <a:gd name="connsiteY22" fmla="*/ 887608 h 1335024"/>
                  <a:gd name="connsiteX23" fmla="*/ 680133 w 1240211"/>
                  <a:gd name="connsiteY23" fmla="*/ 1047850 h 1335024"/>
                  <a:gd name="connsiteX24" fmla="*/ 676578 w 1240211"/>
                  <a:gd name="connsiteY24" fmla="*/ 1051427 h 1335024"/>
                  <a:gd name="connsiteX25" fmla="*/ 567803 w 1240211"/>
                  <a:gd name="connsiteY25" fmla="*/ 971306 h 1335024"/>
                  <a:gd name="connsiteX26" fmla="*/ 572069 w 1240211"/>
                  <a:gd name="connsiteY26" fmla="*/ 867577 h 1335024"/>
                  <a:gd name="connsiteX27" fmla="*/ 562116 w 1240211"/>
                  <a:gd name="connsiteY27" fmla="*/ 806771 h 1335024"/>
                  <a:gd name="connsiteX28" fmla="*/ 146455 w 1240211"/>
                  <a:gd name="connsiteY28" fmla="*/ 806771 h 1335024"/>
                  <a:gd name="connsiteX29" fmla="*/ 136453 w 1240211"/>
                  <a:gd name="connsiteY29" fmla="*/ 867577 h 1335024"/>
                  <a:gd name="connsiteX30" fmla="*/ 141454 w 1240211"/>
                  <a:gd name="connsiteY30" fmla="*/ 971306 h 1335024"/>
                  <a:gd name="connsiteX31" fmla="*/ 31434 w 1240211"/>
                  <a:gd name="connsiteY31" fmla="*/ 1051427 h 1335024"/>
                  <a:gd name="connsiteX32" fmla="*/ 27862 w 1240211"/>
                  <a:gd name="connsiteY32" fmla="*/ 1047850 h 1335024"/>
                  <a:gd name="connsiteX33" fmla="*/ 0 w 1240211"/>
                  <a:gd name="connsiteY33" fmla="*/ 887608 h 1335024"/>
                  <a:gd name="connsiteX34" fmla="*/ 146455 w 1240211"/>
                  <a:gd name="connsiteY34" fmla="*/ 806771 h 1335024"/>
                  <a:gd name="connsiteX35" fmla="*/ 933890 w 1240211"/>
                  <a:gd name="connsiteY35" fmla="*/ 695025 h 1335024"/>
                  <a:gd name="connsiteX36" fmla="*/ 1119999 w 1240211"/>
                  <a:gd name="connsiteY36" fmla="*/ 869720 h 1335024"/>
                  <a:gd name="connsiteX37" fmla="*/ 1112869 w 1240211"/>
                  <a:gd name="connsiteY37" fmla="*/ 928429 h 1335024"/>
                  <a:gd name="connsiteX38" fmla="*/ 1092903 w 1240211"/>
                  <a:gd name="connsiteY38" fmla="*/ 954203 h 1335024"/>
                  <a:gd name="connsiteX39" fmla="*/ 1090051 w 1240211"/>
                  <a:gd name="connsiteY39" fmla="*/ 954919 h 1335024"/>
                  <a:gd name="connsiteX40" fmla="*/ 1082207 w 1240211"/>
                  <a:gd name="connsiteY40" fmla="*/ 954919 h 1335024"/>
                  <a:gd name="connsiteX41" fmla="*/ 1078642 w 1240211"/>
                  <a:gd name="connsiteY41" fmla="*/ 951339 h 1335024"/>
                  <a:gd name="connsiteX42" fmla="*/ 1077215 w 1240211"/>
                  <a:gd name="connsiteY42" fmla="*/ 833922 h 1335024"/>
                  <a:gd name="connsiteX43" fmla="*/ 1070798 w 1240211"/>
                  <a:gd name="connsiteY43" fmla="*/ 831058 h 1335024"/>
                  <a:gd name="connsiteX44" fmla="*/ 980239 w 1240211"/>
                  <a:gd name="connsiteY44" fmla="*/ 844661 h 1335024"/>
                  <a:gd name="connsiteX45" fmla="*/ 903228 w 1240211"/>
                  <a:gd name="connsiteY45" fmla="*/ 853969 h 1335024"/>
                  <a:gd name="connsiteX46" fmla="*/ 899663 w 1240211"/>
                  <a:gd name="connsiteY46" fmla="*/ 848957 h 1335024"/>
                  <a:gd name="connsiteX47" fmla="*/ 909646 w 1240211"/>
                  <a:gd name="connsiteY47" fmla="*/ 831058 h 1335024"/>
                  <a:gd name="connsiteX48" fmla="*/ 903941 w 1240211"/>
                  <a:gd name="connsiteY48" fmla="*/ 826762 h 1335024"/>
                  <a:gd name="connsiteX49" fmla="*/ 832635 w 1240211"/>
                  <a:gd name="connsiteY49" fmla="*/ 867572 h 1335024"/>
                  <a:gd name="connsiteX50" fmla="*/ 828356 w 1240211"/>
                  <a:gd name="connsiteY50" fmla="*/ 863992 h 1335024"/>
                  <a:gd name="connsiteX51" fmla="*/ 831922 w 1240211"/>
                  <a:gd name="connsiteY51" fmla="*/ 839649 h 1335024"/>
                  <a:gd name="connsiteX52" fmla="*/ 826217 w 1240211"/>
                  <a:gd name="connsiteY52" fmla="*/ 836785 h 1335024"/>
                  <a:gd name="connsiteX53" fmla="*/ 786999 w 1240211"/>
                  <a:gd name="connsiteY53" fmla="*/ 949191 h 1335024"/>
                  <a:gd name="connsiteX54" fmla="*/ 783433 w 1240211"/>
                  <a:gd name="connsiteY54" fmla="*/ 952055 h 1335024"/>
                  <a:gd name="connsiteX55" fmla="*/ 777016 w 1240211"/>
                  <a:gd name="connsiteY55" fmla="*/ 951339 h 1335024"/>
                  <a:gd name="connsiteX56" fmla="*/ 774163 w 1240211"/>
                  <a:gd name="connsiteY56" fmla="*/ 949907 h 1335024"/>
                  <a:gd name="connsiteX57" fmla="*/ 755624 w 1240211"/>
                  <a:gd name="connsiteY57" fmla="*/ 929860 h 1335024"/>
                  <a:gd name="connsiteX58" fmla="*/ 749206 w 1240211"/>
                  <a:gd name="connsiteY58" fmla="*/ 869720 h 1335024"/>
                  <a:gd name="connsiteX59" fmla="*/ 933890 w 1240211"/>
                  <a:gd name="connsiteY59" fmla="*/ 695025 h 1335024"/>
                  <a:gd name="connsiteX60" fmla="*/ 354708 w 1240211"/>
                  <a:gd name="connsiteY60" fmla="*/ 695025 h 1335024"/>
                  <a:gd name="connsiteX61" fmla="*/ 541084 w 1240211"/>
                  <a:gd name="connsiteY61" fmla="*/ 869328 h 1335024"/>
                  <a:gd name="connsiteX62" fmla="*/ 533943 w 1240211"/>
                  <a:gd name="connsiteY62" fmla="*/ 929334 h 1335024"/>
                  <a:gd name="connsiteX63" fmla="*/ 533943 w 1240211"/>
                  <a:gd name="connsiteY63" fmla="*/ 927905 h 1335024"/>
                  <a:gd name="connsiteX64" fmla="*/ 513949 w 1240211"/>
                  <a:gd name="connsiteY64" fmla="*/ 954336 h 1335024"/>
                  <a:gd name="connsiteX65" fmla="*/ 511806 w 1240211"/>
                  <a:gd name="connsiteY65" fmla="*/ 955765 h 1335024"/>
                  <a:gd name="connsiteX66" fmla="*/ 502523 w 1240211"/>
                  <a:gd name="connsiteY66" fmla="*/ 955765 h 1335024"/>
                  <a:gd name="connsiteX67" fmla="*/ 498953 w 1240211"/>
                  <a:gd name="connsiteY67" fmla="*/ 952193 h 1335024"/>
                  <a:gd name="connsiteX68" fmla="*/ 497525 w 1240211"/>
                  <a:gd name="connsiteY68" fmla="*/ 834325 h 1335024"/>
                  <a:gd name="connsiteX69" fmla="*/ 491812 w 1240211"/>
                  <a:gd name="connsiteY69" fmla="*/ 831467 h 1335024"/>
                  <a:gd name="connsiteX70" fmla="*/ 251166 w 1240211"/>
                  <a:gd name="connsiteY70" fmla="*/ 871471 h 1335024"/>
                  <a:gd name="connsiteX71" fmla="*/ 247596 w 1240211"/>
                  <a:gd name="connsiteY71" fmla="*/ 866471 h 1335024"/>
                  <a:gd name="connsiteX72" fmla="*/ 251166 w 1240211"/>
                  <a:gd name="connsiteY72" fmla="*/ 840754 h 1335024"/>
                  <a:gd name="connsiteX73" fmla="*/ 246168 w 1240211"/>
                  <a:gd name="connsiteY73" fmla="*/ 837182 h 1335024"/>
                  <a:gd name="connsiteX74" fmla="*/ 205465 w 1240211"/>
                  <a:gd name="connsiteY74" fmla="*/ 948622 h 1335024"/>
                  <a:gd name="connsiteX75" fmla="*/ 201895 w 1240211"/>
                  <a:gd name="connsiteY75" fmla="*/ 952908 h 1335024"/>
                  <a:gd name="connsiteX76" fmla="*/ 196182 w 1240211"/>
                  <a:gd name="connsiteY76" fmla="*/ 952193 h 1335024"/>
                  <a:gd name="connsiteX77" fmla="*/ 193326 w 1240211"/>
                  <a:gd name="connsiteY77" fmla="*/ 950765 h 1335024"/>
                  <a:gd name="connsiteX78" fmla="*/ 175474 w 1240211"/>
                  <a:gd name="connsiteY78" fmla="*/ 930763 h 1335024"/>
                  <a:gd name="connsiteX79" fmla="*/ 167619 w 1240211"/>
                  <a:gd name="connsiteY79" fmla="*/ 869328 h 1335024"/>
                  <a:gd name="connsiteX80" fmla="*/ 354708 w 1240211"/>
                  <a:gd name="connsiteY80" fmla="*/ 695025 h 1335024"/>
                  <a:gd name="connsiteX81" fmla="*/ 1182213 w 1240211"/>
                  <a:gd name="connsiteY81" fmla="*/ 437671 h 1335024"/>
                  <a:gd name="connsiteX82" fmla="*/ 1235131 w 1240211"/>
                  <a:gd name="connsiteY82" fmla="*/ 539912 h 1335024"/>
                  <a:gd name="connsiteX83" fmla="*/ 1180783 w 1240211"/>
                  <a:gd name="connsiteY83" fmla="*/ 575660 h 1335024"/>
                  <a:gd name="connsiteX84" fmla="*/ 1119999 w 1240211"/>
                  <a:gd name="connsiteY84" fmla="*/ 570655 h 1335024"/>
                  <a:gd name="connsiteX85" fmla="*/ 1119999 w 1240211"/>
                  <a:gd name="connsiteY85" fmla="*/ 557786 h 1335024"/>
                  <a:gd name="connsiteX86" fmla="*/ 1182213 w 1240211"/>
                  <a:gd name="connsiteY86" fmla="*/ 437671 h 1335024"/>
                  <a:gd name="connsiteX87" fmla="*/ 759796 w 1240211"/>
                  <a:gd name="connsiteY87" fmla="*/ 436825 h 1335024"/>
                  <a:gd name="connsiteX88" fmla="*/ 822010 w 1240211"/>
                  <a:gd name="connsiteY88" fmla="*/ 557054 h 1335024"/>
                  <a:gd name="connsiteX89" fmla="*/ 822010 w 1240211"/>
                  <a:gd name="connsiteY89" fmla="*/ 570652 h 1335024"/>
                  <a:gd name="connsiteX90" fmla="*/ 761941 w 1240211"/>
                  <a:gd name="connsiteY90" fmla="*/ 575661 h 1335024"/>
                  <a:gd name="connsiteX91" fmla="*/ 706878 w 1240211"/>
                  <a:gd name="connsiteY91" fmla="*/ 539879 h 1335024"/>
                  <a:gd name="connsiteX92" fmla="*/ 759796 w 1240211"/>
                  <a:gd name="connsiteY92" fmla="*/ 436825 h 1335024"/>
                  <a:gd name="connsiteX93" fmla="*/ 971138 w 1240211"/>
                  <a:gd name="connsiteY93" fmla="*/ 0 h 1335024"/>
                  <a:gd name="connsiteX94" fmla="*/ 1192936 w 1240211"/>
                  <a:gd name="connsiteY94" fmla="*/ 224859 h 1335024"/>
                  <a:gd name="connsiteX95" fmla="*/ 1185091 w 1240211"/>
                  <a:gd name="connsiteY95" fmla="*/ 301239 h 1335024"/>
                  <a:gd name="connsiteX96" fmla="*/ 1185091 w 1240211"/>
                  <a:gd name="connsiteY96" fmla="*/ 300525 h 1335024"/>
                  <a:gd name="connsiteX97" fmla="*/ 1160843 w 1240211"/>
                  <a:gd name="connsiteY97" fmla="*/ 334790 h 1335024"/>
                  <a:gd name="connsiteX98" fmla="*/ 1158703 w 1240211"/>
                  <a:gd name="connsiteY98" fmla="*/ 335503 h 1335024"/>
                  <a:gd name="connsiteX99" fmla="*/ 1144440 w 1240211"/>
                  <a:gd name="connsiteY99" fmla="*/ 335503 h 1335024"/>
                  <a:gd name="connsiteX100" fmla="*/ 1143014 w 1240211"/>
                  <a:gd name="connsiteY100" fmla="*/ 335503 h 1335024"/>
                  <a:gd name="connsiteX101" fmla="*/ 851324 w 1240211"/>
                  <a:gd name="connsiteY101" fmla="*/ 180601 h 1335024"/>
                  <a:gd name="connsiteX102" fmla="*/ 848471 w 1240211"/>
                  <a:gd name="connsiteY102" fmla="*/ 180601 h 1335024"/>
                  <a:gd name="connsiteX103" fmla="*/ 762176 w 1240211"/>
                  <a:gd name="connsiteY103" fmla="*/ 316944 h 1335024"/>
                  <a:gd name="connsiteX104" fmla="*/ 750052 w 1240211"/>
                  <a:gd name="connsiteY104" fmla="*/ 224859 h 1335024"/>
                  <a:gd name="connsiteX105" fmla="*/ 971138 w 1240211"/>
                  <a:gd name="connsiteY105" fmla="*/ 0 h 1335024"/>
                  <a:gd name="connsiteX106" fmla="*/ 305185 w 1240211"/>
                  <a:gd name="connsiteY106" fmla="*/ 0 h 1335024"/>
                  <a:gd name="connsiteX107" fmla="*/ 525847 w 1240211"/>
                  <a:gd name="connsiteY107" fmla="*/ 226375 h 1335024"/>
                  <a:gd name="connsiteX108" fmla="*/ 517991 w 1240211"/>
                  <a:gd name="connsiteY108" fmla="*/ 302785 h 1335024"/>
                  <a:gd name="connsiteX109" fmla="*/ 492997 w 1240211"/>
                  <a:gd name="connsiteY109" fmla="*/ 337777 h 1335024"/>
                  <a:gd name="connsiteX110" fmla="*/ 476573 w 1240211"/>
                  <a:gd name="connsiteY110" fmla="*/ 337777 h 1335024"/>
                  <a:gd name="connsiteX111" fmla="*/ 474430 w 1240211"/>
                  <a:gd name="connsiteY111" fmla="*/ 171388 h 1335024"/>
                  <a:gd name="connsiteX112" fmla="*/ 183786 w 1240211"/>
                  <a:gd name="connsiteY112" fmla="*/ 181386 h 1335024"/>
                  <a:gd name="connsiteX113" fmla="*/ 129513 w 1240211"/>
                  <a:gd name="connsiteY113" fmla="*/ 334921 h 1335024"/>
                  <a:gd name="connsiteX114" fmla="*/ 114517 w 1240211"/>
                  <a:gd name="connsiteY114" fmla="*/ 333492 h 1335024"/>
                  <a:gd name="connsiteX115" fmla="*/ 92379 w 1240211"/>
                  <a:gd name="connsiteY115" fmla="*/ 305642 h 1335024"/>
                  <a:gd name="connsiteX116" fmla="*/ 92379 w 1240211"/>
                  <a:gd name="connsiteY116" fmla="*/ 304928 h 1335024"/>
                  <a:gd name="connsiteX117" fmla="*/ 83810 w 1240211"/>
                  <a:gd name="connsiteY117" fmla="*/ 226375 h 1335024"/>
                  <a:gd name="connsiteX118" fmla="*/ 305185 w 1240211"/>
                  <a:gd name="connsiteY118" fmla="*/ 0 h 13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40211" h="1335024">
                    <a:moveTo>
                      <a:pt x="803963" y="1194495"/>
                    </a:moveTo>
                    <a:cubicBezTo>
                      <a:pt x="819670" y="1213042"/>
                      <a:pt x="855370" y="1255129"/>
                      <a:pt x="933909" y="1255129"/>
                    </a:cubicBezTo>
                    <a:cubicBezTo>
                      <a:pt x="1011734" y="1255129"/>
                      <a:pt x="1043150" y="1219462"/>
                      <a:pt x="1061713" y="1194495"/>
                    </a:cubicBezTo>
                    <a:cubicBezTo>
                      <a:pt x="1072423" y="1195208"/>
                      <a:pt x="1225931" y="1215182"/>
                      <a:pt x="1239497" y="1322184"/>
                    </a:cubicBezTo>
                    <a:cubicBezTo>
                      <a:pt x="1239497" y="1323611"/>
                      <a:pt x="1239497" y="1324324"/>
                      <a:pt x="1240211" y="1325037"/>
                    </a:cubicBezTo>
                    <a:cubicBezTo>
                      <a:pt x="1240211" y="1330744"/>
                      <a:pt x="1235927" y="1335024"/>
                      <a:pt x="1230929" y="1335024"/>
                    </a:cubicBezTo>
                    <a:cubicBezTo>
                      <a:pt x="1230929" y="1335024"/>
                      <a:pt x="1230929" y="1335024"/>
                      <a:pt x="689723" y="1335024"/>
                    </a:cubicBezTo>
                    <a:cubicBezTo>
                      <a:pt x="691151" y="1330744"/>
                      <a:pt x="691151" y="1326464"/>
                      <a:pt x="691151" y="1321471"/>
                    </a:cubicBezTo>
                    <a:cubicBezTo>
                      <a:pt x="691151" y="1321471"/>
                      <a:pt x="691151" y="1321471"/>
                      <a:pt x="690437" y="1318617"/>
                    </a:cubicBezTo>
                    <a:cubicBezTo>
                      <a:pt x="686867" y="1290083"/>
                      <a:pt x="676158" y="1267256"/>
                      <a:pt x="661164" y="1248709"/>
                    </a:cubicBezTo>
                    <a:cubicBezTo>
                      <a:pt x="709001" y="1198062"/>
                      <a:pt x="796823" y="1194495"/>
                      <a:pt x="803963" y="1194495"/>
                    </a:cubicBezTo>
                    <a:close/>
                    <a:moveTo>
                      <a:pt x="223231" y="1194495"/>
                    </a:moveTo>
                    <a:cubicBezTo>
                      <a:pt x="239657" y="1213042"/>
                      <a:pt x="275367" y="1255129"/>
                      <a:pt x="353214" y="1255129"/>
                    </a:cubicBezTo>
                    <a:cubicBezTo>
                      <a:pt x="431061" y="1255129"/>
                      <a:pt x="463200" y="1219462"/>
                      <a:pt x="481054" y="1194495"/>
                    </a:cubicBezTo>
                    <a:cubicBezTo>
                      <a:pt x="491767" y="1195208"/>
                      <a:pt x="645319" y="1215182"/>
                      <a:pt x="659603" y="1322184"/>
                    </a:cubicBezTo>
                    <a:cubicBezTo>
                      <a:pt x="659603" y="1323611"/>
                      <a:pt x="659603" y="1324324"/>
                      <a:pt x="659603" y="1325037"/>
                    </a:cubicBezTo>
                    <a:cubicBezTo>
                      <a:pt x="660317" y="1330744"/>
                      <a:pt x="656032" y="1335024"/>
                      <a:pt x="650318" y="1335024"/>
                    </a:cubicBezTo>
                    <a:lnTo>
                      <a:pt x="57538" y="1335024"/>
                    </a:lnTo>
                    <a:cubicBezTo>
                      <a:pt x="52539" y="1335024"/>
                      <a:pt x="48254" y="1330744"/>
                      <a:pt x="48968" y="1325037"/>
                    </a:cubicBezTo>
                    <a:cubicBezTo>
                      <a:pt x="48968" y="1321471"/>
                      <a:pt x="49682" y="1317904"/>
                      <a:pt x="49682" y="1314337"/>
                    </a:cubicBezTo>
                    <a:cubicBezTo>
                      <a:pt x="63252" y="1200202"/>
                      <a:pt x="213946" y="1194495"/>
                      <a:pt x="223231" y="1194495"/>
                    </a:cubicBezTo>
                    <a:close/>
                    <a:moveTo>
                      <a:pt x="562116" y="806771"/>
                    </a:moveTo>
                    <a:cubicBezTo>
                      <a:pt x="639609" y="808202"/>
                      <a:pt x="708571" y="833240"/>
                      <a:pt x="708571" y="887608"/>
                    </a:cubicBezTo>
                    <a:cubicBezTo>
                      <a:pt x="708571" y="943407"/>
                      <a:pt x="680844" y="939114"/>
                      <a:pt x="680133" y="1047850"/>
                    </a:cubicBezTo>
                    <a:cubicBezTo>
                      <a:pt x="680133" y="1049996"/>
                      <a:pt x="678711" y="1051427"/>
                      <a:pt x="676578" y="1051427"/>
                    </a:cubicBezTo>
                    <a:cubicBezTo>
                      <a:pt x="637476" y="1048566"/>
                      <a:pt x="567803" y="1018520"/>
                      <a:pt x="567803" y="971306"/>
                    </a:cubicBezTo>
                    <a:cubicBezTo>
                      <a:pt x="567803" y="924807"/>
                      <a:pt x="600507" y="874731"/>
                      <a:pt x="572069" y="867577"/>
                    </a:cubicBezTo>
                    <a:cubicBezTo>
                      <a:pt x="572069" y="846116"/>
                      <a:pt x="568514" y="826086"/>
                      <a:pt x="562116" y="806771"/>
                    </a:cubicBezTo>
                    <a:close/>
                    <a:moveTo>
                      <a:pt x="146455" y="806771"/>
                    </a:moveTo>
                    <a:cubicBezTo>
                      <a:pt x="140025" y="826086"/>
                      <a:pt x="136453" y="846116"/>
                      <a:pt x="136453" y="867577"/>
                    </a:cubicBezTo>
                    <a:cubicBezTo>
                      <a:pt x="108591" y="874731"/>
                      <a:pt x="141454" y="924807"/>
                      <a:pt x="141454" y="971306"/>
                    </a:cubicBezTo>
                    <a:cubicBezTo>
                      <a:pt x="141454" y="1018520"/>
                      <a:pt x="71441" y="1048566"/>
                      <a:pt x="31434" y="1051427"/>
                    </a:cubicBezTo>
                    <a:cubicBezTo>
                      <a:pt x="30005" y="1051427"/>
                      <a:pt x="27862" y="1049996"/>
                      <a:pt x="27862" y="1047850"/>
                    </a:cubicBezTo>
                    <a:cubicBezTo>
                      <a:pt x="27148" y="939114"/>
                      <a:pt x="0" y="943407"/>
                      <a:pt x="0" y="887608"/>
                    </a:cubicBezTo>
                    <a:cubicBezTo>
                      <a:pt x="0" y="833240"/>
                      <a:pt x="68584" y="808202"/>
                      <a:pt x="146455" y="806771"/>
                    </a:cubicBezTo>
                    <a:close/>
                    <a:moveTo>
                      <a:pt x="933890" y="695025"/>
                    </a:moveTo>
                    <a:cubicBezTo>
                      <a:pt x="1039423" y="695025"/>
                      <a:pt x="1119999" y="772349"/>
                      <a:pt x="1119999" y="869720"/>
                    </a:cubicBezTo>
                    <a:cubicBezTo>
                      <a:pt x="1119999" y="889767"/>
                      <a:pt x="1119999" y="909814"/>
                      <a:pt x="1112869" y="928429"/>
                    </a:cubicBezTo>
                    <a:cubicBezTo>
                      <a:pt x="1112156" y="928429"/>
                      <a:pt x="1109303" y="937020"/>
                      <a:pt x="1092903" y="954203"/>
                    </a:cubicBezTo>
                    <a:cubicBezTo>
                      <a:pt x="1092903" y="954919"/>
                      <a:pt x="1092190" y="954919"/>
                      <a:pt x="1090051" y="954919"/>
                    </a:cubicBezTo>
                    <a:cubicBezTo>
                      <a:pt x="1090051" y="954919"/>
                      <a:pt x="1090051" y="954919"/>
                      <a:pt x="1082207" y="954919"/>
                    </a:cubicBezTo>
                    <a:cubicBezTo>
                      <a:pt x="1080781" y="954919"/>
                      <a:pt x="1078642" y="953487"/>
                      <a:pt x="1078642" y="951339"/>
                    </a:cubicBezTo>
                    <a:cubicBezTo>
                      <a:pt x="1078642" y="943464"/>
                      <a:pt x="1077928" y="917689"/>
                      <a:pt x="1077215" y="833922"/>
                    </a:cubicBezTo>
                    <a:cubicBezTo>
                      <a:pt x="1077215" y="831058"/>
                      <a:pt x="1073650" y="829626"/>
                      <a:pt x="1070798" y="831058"/>
                    </a:cubicBezTo>
                    <a:cubicBezTo>
                      <a:pt x="1045128" y="850389"/>
                      <a:pt x="985230" y="845377"/>
                      <a:pt x="980239" y="844661"/>
                    </a:cubicBezTo>
                    <a:cubicBezTo>
                      <a:pt x="980239" y="844661"/>
                      <a:pt x="980239" y="844661"/>
                      <a:pt x="903228" y="853969"/>
                    </a:cubicBezTo>
                    <a:cubicBezTo>
                      <a:pt x="899663" y="853969"/>
                      <a:pt x="898237" y="850389"/>
                      <a:pt x="899663" y="848957"/>
                    </a:cubicBezTo>
                    <a:cubicBezTo>
                      <a:pt x="903228" y="843229"/>
                      <a:pt x="906793" y="836785"/>
                      <a:pt x="909646" y="831058"/>
                    </a:cubicBezTo>
                    <a:cubicBezTo>
                      <a:pt x="910359" y="828194"/>
                      <a:pt x="906793" y="825330"/>
                      <a:pt x="903941" y="826762"/>
                    </a:cubicBezTo>
                    <a:cubicBezTo>
                      <a:pt x="881836" y="843229"/>
                      <a:pt x="846896" y="860412"/>
                      <a:pt x="832635" y="867572"/>
                    </a:cubicBezTo>
                    <a:cubicBezTo>
                      <a:pt x="829782" y="869720"/>
                      <a:pt x="827643" y="866856"/>
                      <a:pt x="828356" y="863992"/>
                    </a:cubicBezTo>
                    <a:cubicBezTo>
                      <a:pt x="828356" y="863992"/>
                      <a:pt x="828356" y="863992"/>
                      <a:pt x="831922" y="839649"/>
                    </a:cubicBezTo>
                    <a:cubicBezTo>
                      <a:pt x="831922" y="837501"/>
                      <a:pt x="829069" y="835354"/>
                      <a:pt x="826217" y="836785"/>
                    </a:cubicBezTo>
                    <a:cubicBezTo>
                      <a:pt x="784146" y="854685"/>
                      <a:pt x="785572" y="930576"/>
                      <a:pt x="786999" y="949191"/>
                    </a:cubicBezTo>
                    <a:cubicBezTo>
                      <a:pt x="786999" y="950623"/>
                      <a:pt x="784859" y="952055"/>
                      <a:pt x="783433" y="952055"/>
                    </a:cubicBezTo>
                    <a:cubicBezTo>
                      <a:pt x="783433" y="952055"/>
                      <a:pt x="783433" y="952055"/>
                      <a:pt x="777016" y="951339"/>
                    </a:cubicBezTo>
                    <a:cubicBezTo>
                      <a:pt x="776303" y="951339"/>
                      <a:pt x="774163" y="950623"/>
                      <a:pt x="774163" y="949907"/>
                    </a:cubicBezTo>
                    <a:cubicBezTo>
                      <a:pt x="772737" y="947044"/>
                      <a:pt x="769172" y="939884"/>
                      <a:pt x="755624" y="929860"/>
                    </a:cubicBezTo>
                    <a:cubicBezTo>
                      <a:pt x="749206" y="910530"/>
                      <a:pt x="749206" y="889767"/>
                      <a:pt x="749206" y="869720"/>
                    </a:cubicBezTo>
                    <a:cubicBezTo>
                      <a:pt x="749206" y="772349"/>
                      <a:pt x="829069" y="695025"/>
                      <a:pt x="933890" y="695025"/>
                    </a:cubicBezTo>
                    <a:close/>
                    <a:moveTo>
                      <a:pt x="354708" y="695025"/>
                    </a:moveTo>
                    <a:cubicBezTo>
                      <a:pt x="460392" y="695025"/>
                      <a:pt x="541084" y="773604"/>
                      <a:pt x="541084" y="869328"/>
                    </a:cubicBezTo>
                    <a:cubicBezTo>
                      <a:pt x="541084" y="890044"/>
                      <a:pt x="541798" y="910046"/>
                      <a:pt x="533943" y="929334"/>
                    </a:cubicBezTo>
                    <a:cubicBezTo>
                      <a:pt x="533943" y="927905"/>
                      <a:pt x="533943" y="927905"/>
                      <a:pt x="533943" y="927905"/>
                    </a:cubicBezTo>
                    <a:cubicBezTo>
                      <a:pt x="533943" y="929334"/>
                      <a:pt x="530372" y="936478"/>
                      <a:pt x="513949" y="954336"/>
                    </a:cubicBezTo>
                    <a:cubicBezTo>
                      <a:pt x="513234" y="955051"/>
                      <a:pt x="512520" y="955765"/>
                      <a:pt x="511806" y="955765"/>
                    </a:cubicBezTo>
                    <a:cubicBezTo>
                      <a:pt x="511806" y="955765"/>
                      <a:pt x="511806" y="955765"/>
                      <a:pt x="502523" y="955765"/>
                    </a:cubicBezTo>
                    <a:cubicBezTo>
                      <a:pt x="501095" y="955765"/>
                      <a:pt x="498953" y="954336"/>
                      <a:pt x="498953" y="952193"/>
                    </a:cubicBezTo>
                    <a:cubicBezTo>
                      <a:pt x="498953" y="944335"/>
                      <a:pt x="498953" y="917904"/>
                      <a:pt x="497525" y="834325"/>
                    </a:cubicBezTo>
                    <a:cubicBezTo>
                      <a:pt x="497525" y="831467"/>
                      <a:pt x="494668" y="829324"/>
                      <a:pt x="491812" y="831467"/>
                    </a:cubicBezTo>
                    <a:cubicBezTo>
                      <a:pt x="454680" y="852898"/>
                      <a:pt x="281158" y="868614"/>
                      <a:pt x="251166" y="871471"/>
                    </a:cubicBezTo>
                    <a:cubicBezTo>
                      <a:pt x="248310" y="871471"/>
                      <a:pt x="246168" y="869328"/>
                      <a:pt x="247596" y="866471"/>
                    </a:cubicBezTo>
                    <a:cubicBezTo>
                      <a:pt x="247596" y="866471"/>
                      <a:pt x="247596" y="866471"/>
                      <a:pt x="251166" y="840754"/>
                    </a:cubicBezTo>
                    <a:cubicBezTo>
                      <a:pt x="251880" y="838611"/>
                      <a:pt x="249024" y="835753"/>
                      <a:pt x="246168" y="837182"/>
                    </a:cubicBezTo>
                    <a:cubicBezTo>
                      <a:pt x="203323" y="855755"/>
                      <a:pt x="204751" y="930763"/>
                      <a:pt x="205465" y="948622"/>
                    </a:cubicBezTo>
                    <a:cubicBezTo>
                      <a:pt x="206893" y="951479"/>
                      <a:pt x="204037" y="952908"/>
                      <a:pt x="201895" y="952908"/>
                    </a:cubicBezTo>
                    <a:cubicBezTo>
                      <a:pt x="201895" y="952908"/>
                      <a:pt x="201895" y="952908"/>
                      <a:pt x="196182" y="952193"/>
                    </a:cubicBezTo>
                    <a:cubicBezTo>
                      <a:pt x="194754" y="952193"/>
                      <a:pt x="194040" y="951479"/>
                      <a:pt x="193326" y="950765"/>
                    </a:cubicBezTo>
                    <a:cubicBezTo>
                      <a:pt x="192612" y="947193"/>
                      <a:pt x="188327" y="941478"/>
                      <a:pt x="175474" y="930763"/>
                    </a:cubicBezTo>
                    <a:cubicBezTo>
                      <a:pt x="167619" y="911475"/>
                      <a:pt x="167619" y="890759"/>
                      <a:pt x="167619" y="869328"/>
                    </a:cubicBezTo>
                    <a:cubicBezTo>
                      <a:pt x="167619" y="773604"/>
                      <a:pt x="249024" y="695025"/>
                      <a:pt x="354708" y="695025"/>
                    </a:cubicBezTo>
                    <a:close/>
                    <a:moveTo>
                      <a:pt x="1182213" y="437671"/>
                    </a:moveTo>
                    <a:cubicBezTo>
                      <a:pt x="1185074" y="479854"/>
                      <a:pt x="1192225" y="535622"/>
                      <a:pt x="1235131" y="539912"/>
                    </a:cubicBezTo>
                    <a:cubicBezTo>
                      <a:pt x="1216539" y="559216"/>
                      <a:pt x="1197946" y="569940"/>
                      <a:pt x="1180783" y="575660"/>
                    </a:cubicBezTo>
                    <a:cubicBezTo>
                      <a:pt x="1155755" y="572800"/>
                      <a:pt x="1132871" y="571370"/>
                      <a:pt x="1119999" y="570655"/>
                    </a:cubicBezTo>
                    <a:cubicBezTo>
                      <a:pt x="1119999" y="570655"/>
                      <a:pt x="1119999" y="570655"/>
                      <a:pt x="1119999" y="557786"/>
                    </a:cubicBezTo>
                    <a:cubicBezTo>
                      <a:pt x="1135732" y="539197"/>
                      <a:pt x="1156470" y="499158"/>
                      <a:pt x="1182213" y="437671"/>
                    </a:cubicBezTo>
                    <a:close/>
                    <a:moveTo>
                      <a:pt x="759796" y="436825"/>
                    </a:moveTo>
                    <a:cubicBezTo>
                      <a:pt x="785540" y="498371"/>
                      <a:pt x="806278" y="539163"/>
                      <a:pt x="822010" y="557054"/>
                    </a:cubicBezTo>
                    <a:lnTo>
                      <a:pt x="822010" y="570652"/>
                    </a:lnTo>
                    <a:cubicBezTo>
                      <a:pt x="809138" y="571367"/>
                      <a:pt x="786970" y="572799"/>
                      <a:pt x="761941" y="575661"/>
                    </a:cubicBezTo>
                    <a:cubicBezTo>
                      <a:pt x="744778" y="569936"/>
                      <a:pt x="726186" y="559201"/>
                      <a:pt x="706878" y="539879"/>
                    </a:cubicBezTo>
                    <a:cubicBezTo>
                      <a:pt x="750500" y="535585"/>
                      <a:pt x="757651" y="479048"/>
                      <a:pt x="759796" y="436825"/>
                    </a:cubicBezTo>
                    <a:close/>
                    <a:moveTo>
                      <a:pt x="971138" y="0"/>
                    </a:moveTo>
                    <a:cubicBezTo>
                      <a:pt x="1096657" y="0"/>
                      <a:pt x="1192936" y="100651"/>
                      <a:pt x="1192936" y="224859"/>
                    </a:cubicBezTo>
                    <a:cubicBezTo>
                      <a:pt x="1192936" y="251271"/>
                      <a:pt x="1193649" y="276969"/>
                      <a:pt x="1185091" y="301239"/>
                    </a:cubicBezTo>
                    <a:cubicBezTo>
                      <a:pt x="1185091" y="301239"/>
                      <a:pt x="1185091" y="300525"/>
                      <a:pt x="1185091" y="300525"/>
                    </a:cubicBezTo>
                    <a:cubicBezTo>
                      <a:pt x="1184378" y="301239"/>
                      <a:pt x="1180812" y="311947"/>
                      <a:pt x="1160843" y="334790"/>
                    </a:cubicBezTo>
                    <a:cubicBezTo>
                      <a:pt x="1160130" y="335503"/>
                      <a:pt x="1159417" y="335503"/>
                      <a:pt x="1158703" y="335503"/>
                    </a:cubicBezTo>
                    <a:cubicBezTo>
                      <a:pt x="1158703" y="335503"/>
                      <a:pt x="1158703" y="335503"/>
                      <a:pt x="1144440" y="335503"/>
                    </a:cubicBezTo>
                    <a:cubicBezTo>
                      <a:pt x="1143727" y="335503"/>
                      <a:pt x="1143727" y="335503"/>
                      <a:pt x="1143014" y="335503"/>
                    </a:cubicBezTo>
                    <a:cubicBezTo>
                      <a:pt x="1143014" y="335503"/>
                      <a:pt x="1143014" y="335503"/>
                      <a:pt x="851324" y="180601"/>
                    </a:cubicBezTo>
                    <a:cubicBezTo>
                      <a:pt x="850610" y="180601"/>
                      <a:pt x="849184" y="180601"/>
                      <a:pt x="848471" y="180601"/>
                    </a:cubicBezTo>
                    <a:cubicBezTo>
                      <a:pt x="783572" y="202016"/>
                      <a:pt x="784285" y="336931"/>
                      <a:pt x="762176" y="316944"/>
                    </a:cubicBezTo>
                    <a:cubicBezTo>
                      <a:pt x="752905" y="292673"/>
                      <a:pt x="750052" y="252698"/>
                      <a:pt x="750052" y="224859"/>
                    </a:cubicBezTo>
                    <a:cubicBezTo>
                      <a:pt x="750052" y="100651"/>
                      <a:pt x="846331" y="0"/>
                      <a:pt x="971138" y="0"/>
                    </a:cubicBezTo>
                    <a:close/>
                    <a:moveTo>
                      <a:pt x="305185" y="0"/>
                    </a:moveTo>
                    <a:cubicBezTo>
                      <a:pt x="430155" y="0"/>
                      <a:pt x="525847" y="101405"/>
                      <a:pt x="525847" y="226375"/>
                    </a:cubicBezTo>
                    <a:cubicBezTo>
                      <a:pt x="525847" y="253511"/>
                      <a:pt x="526561" y="279220"/>
                      <a:pt x="517991" y="302785"/>
                    </a:cubicBezTo>
                    <a:cubicBezTo>
                      <a:pt x="517277" y="302785"/>
                      <a:pt x="513707" y="314211"/>
                      <a:pt x="492997" y="337777"/>
                    </a:cubicBezTo>
                    <a:cubicBezTo>
                      <a:pt x="492997" y="337777"/>
                      <a:pt x="492997" y="337777"/>
                      <a:pt x="476573" y="337777"/>
                    </a:cubicBezTo>
                    <a:cubicBezTo>
                      <a:pt x="476573" y="337777"/>
                      <a:pt x="476573" y="329922"/>
                      <a:pt x="474430" y="171388"/>
                    </a:cubicBezTo>
                    <a:cubicBezTo>
                      <a:pt x="449436" y="298501"/>
                      <a:pt x="183786" y="181386"/>
                      <a:pt x="183786" y="181386"/>
                    </a:cubicBezTo>
                    <a:cubicBezTo>
                      <a:pt x="117373" y="202095"/>
                      <a:pt x="129513" y="334921"/>
                      <a:pt x="129513" y="334921"/>
                    </a:cubicBezTo>
                    <a:cubicBezTo>
                      <a:pt x="129513" y="334921"/>
                      <a:pt x="129513" y="334921"/>
                      <a:pt x="114517" y="333492"/>
                    </a:cubicBezTo>
                    <a:cubicBezTo>
                      <a:pt x="114517" y="333492"/>
                      <a:pt x="114517" y="325637"/>
                      <a:pt x="92379" y="305642"/>
                    </a:cubicBezTo>
                    <a:cubicBezTo>
                      <a:pt x="92379" y="305642"/>
                      <a:pt x="92379" y="305642"/>
                      <a:pt x="92379" y="304928"/>
                    </a:cubicBezTo>
                    <a:cubicBezTo>
                      <a:pt x="83810" y="280648"/>
                      <a:pt x="83810" y="254226"/>
                      <a:pt x="83810" y="226375"/>
                    </a:cubicBezTo>
                    <a:cubicBezTo>
                      <a:pt x="83810" y="101405"/>
                      <a:pt x="179501" y="0"/>
                      <a:pt x="305185" y="0"/>
                    </a:cubicBezTo>
                    <a:close/>
                  </a:path>
                </a:pathLst>
              </a:custGeom>
              <a:solidFill>
                <a:srgbClr val="523178"/>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6" name="Freeform 25">
                <a:extLst>
                  <a:ext uri="{FF2B5EF4-FFF2-40B4-BE49-F238E27FC236}">
                    <a16:creationId xmlns:a16="http://schemas.microsoft.com/office/drawing/2014/main" id="{4745395D-C544-4A55-BBE4-89FA97DDA562}"/>
                  </a:ext>
                </a:extLst>
              </p:cNvPr>
              <p:cNvSpPr>
                <a:spLocks/>
              </p:cNvSpPr>
              <p:nvPr/>
            </p:nvSpPr>
            <p:spPr bwMode="auto">
              <a:xfrm>
                <a:off x="5336392" y="3091644"/>
                <a:ext cx="1517035" cy="989628"/>
              </a:xfrm>
              <a:custGeom>
                <a:avLst/>
                <a:gdLst>
                  <a:gd name="connsiteX0" fmla="*/ 839709 w 1517035"/>
                  <a:gd name="connsiteY0" fmla="*/ 628147 h 989628"/>
                  <a:gd name="connsiteX1" fmla="*/ 870359 w 1517035"/>
                  <a:gd name="connsiteY1" fmla="*/ 685320 h 989628"/>
                  <a:gd name="connsiteX2" fmla="*/ 915978 w 1517035"/>
                  <a:gd name="connsiteY2" fmla="*/ 788946 h 989628"/>
                  <a:gd name="connsiteX3" fmla="*/ 915978 w 1517035"/>
                  <a:gd name="connsiteY3" fmla="*/ 817532 h 989628"/>
                  <a:gd name="connsiteX4" fmla="*/ 826879 w 1517035"/>
                  <a:gd name="connsiteY4" fmla="*/ 836828 h 989628"/>
                  <a:gd name="connsiteX5" fmla="*/ 759164 w 1517035"/>
                  <a:gd name="connsiteY5" fmla="*/ 880422 h 989628"/>
                  <a:gd name="connsiteX6" fmla="*/ 613756 w 1517035"/>
                  <a:gd name="connsiteY6" fmla="*/ 818247 h 989628"/>
                  <a:gd name="connsiteX7" fmla="*/ 613756 w 1517035"/>
                  <a:gd name="connsiteY7" fmla="*/ 788946 h 989628"/>
                  <a:gd name="connsiteX8" fmla="*/ 658661 w 1517035"/>
                  <a:gd name="connsiteY8" fmla="*/ 685320 h 989628"/>
                  <a:gd name="connsiteX9" fmla="*/ 670779 w 1517035"/>
                  <a:gd name="connsiteY9" fmla="*/ 671741 h 989628"/>
                  <a:gd name="connsiteX10" fmla="*/ 794804 w 1517035"/>
                  <a:gd name="connsiteY10" fmla="*/ 736775 h 989628"/>
                  <a:gd name="connsiteX11" fmla="*/ 796229 w 1517035"/>
                  <a:gd name="connsiteY11" fmla="*/ 736775 h 989628"/>
                  <a:gd name="connsiteX12" fmla="*/ 796942 w 1517035"/>
                  <a:gd name="connsiteY12" fmla="*/ 736775 h 989628"/>
                  <a:gd name="connsiteX13" fmla="*/ 831869 w 1517035"/>
                  <a:gd name="connsiteY13" fmla="*/ 702472 h 989628"/>
                  <a:gd name="connsiteX14" fmla="*/ 839709 w 1517035"/>
                  <a:gd name="connsiteY14" fmla="*/ 628147 h 989628"/>
                  <a:gd name="connsiteX15" fmla="*/ 877036 w 1517035"/>
                  <a:gd name="connsiteY15" fmla="*/ 623914 h 989628"/>
                  <a:gd name="connsiteX16" fmla="*/ 903452 w 1517035"/>
                  <a:gd name="connsiteY16" fmla="*/ 636077 h 989628"/>
                  <a:gd name="connsiteX17" fmla="*/ 914876 w 1517035"/>
                  <a:gd name="connsiteY17" fmla="*/ 647525 h 989628"/>
                  <a:gd name="connsiteX18" fmla="*/ 919874 w 1517035"/>
                  <a:gd name="connsiteY18" fmla="*/ 652533 h 989628"/>
                  <a:gd name="connsiteX19" fmla="*/ 970565 w 1517035"/>
                  <a:gd name="connsiteY19" fmla="*/ 768441 h 989628"/>
                  <a:gd name="connsiteX20" fmla="*/ 1054813 w 1517035"/>
                  <a:gd name="connsiteY20" fmla="*/ 814947 h 989628"/>
                  <a:gd name="connsiteX21" fmla="*/ 1139062 w 1517035"/>
                  <a:gd name="connsiteY21" fmla="*/ 768441 h 989628"/>
                  <a:gd name="connsiteX22" fmla="*/ 1189753 w 1517035"/>
                  <a:gd name="connsiteY22" fmla="*/ 652533 h 989628"/>
                  <a:gd name="connsiteX23" fmla="*/ 1194037 w 1517035"/>
                  <a:gd name="connsiteY23" fmla="*/ 647525 h 989628"/>
                  <a:gd name="connsiteX24" fmla="*/ 1206174 w 1517035"/>
                  <a:gd name="connsiteY24" fmla="*/ 636793 h 989628"/>
                  <a:gd name="connsiteX25" fmla="*/ 1232591 w 1517035"/>
                  <a:gd name="connsiteY25" fmla="*/ 623914 h 989628"/>
                  <a:gd name="connsiteX26" fmla="*/ 1209030 w 1517035"/>
                  <a:gd name="connsiteY26" fmla="*/ 661835 h 989628"/>
                  <a:gd name="connsiteX27" fmla="*/ 1207602 w 1517035"/>
                  <a:gd name="connsiteY27" fmla="*/ 663266 h 989628"/>
                  <a:gd name="connsiteX28" fmla="*/ 1206888 w 1517035"/>
                  <a:gd name="connsiteY28" fmla="*/ 664697 h 989628"/>
                  <a:gd name="connsiteX29" fmla="*/ 1157625 w 1517035"/>
                  <a:gd name="connsiteY29" fmla="*/ 777027 h 989628"/>
                  <a:gd name="connsiteX30" fmla="*/ 1156197 w 1517035"/>
                  <a:gd name="connsiteY30" fmla="*/ 778458 h 989628"/>
                  <a:gd name="connsiteX31" fmla="*/ 1156197 w 1517035"/>
                  <a:gd name="connsiteY31" fmla="*/ 779889 h 989628"/>
                  <a:gd name="connsiteX32" fmla="*/ 1156197 w 1517035"/>
                  <a:gd name="connsiteY32" fmla="*/ 820671 h 989628"/>
                  <a:gd name="connsiteX33" fmla="*/ 1151913 w 1517035"/>
                  <a:gd name="connsiteY33" fmla="*/ 827111 h 989628"/>
                  <a:gd name="connsiteX34" fmla="*/ 1136206 w 1517035"/>
                  <a:gd name="connsiteY34" fmla="*/ 845713 h 989628"/>
                  <a:gd name="connsiteX35" fmla="*/ 1136206 w 1517035"/>
                  <a:gd name="connsiteY35" fmla="*/ 807793 h 989628"/>
                  <a:gd name="connsiteX36" fmla="*/ 1136206 w 1517035"/>
                  <a:gd name="connsiteY36" fmla="*/ 797060 h 989628"/>
                  <a:gd name="connsiteX37" fmla="*/ 1127638 w 1517035"/>
                  <a:gd name="connsiteY37" fmla="*/ 802784 h 989628"/>
                  <a:gd name="connsiteX38" fmla="*/ 1054813 w 1517035"/>
                  <a:gd name="connsiteY38" fmla="*/ 834981 h 989628"/>
                  <a:gd name="connsiteX39" fmla="*/ 981989 w 1517035"/>
                  <a:gd name="connsiteY39" fmla="*/ 803500 h 989628"/>
                  <a:gd name="connsiteX40" fmla="*/ 973421 w 1517035"/>
                  <a:gd name="connsiteY40" fmla="*/ 797060 h 989628"/>
                  <a:gd name="connsiteX41" fmla="*/ 973421 w 1517035"/>
                  <a:gd name="connsiteY41" fmla="*/ 807793 h 989628"/>
                  <a:gd name="connsiteX42" fmla="*/ 973421 w 1517035"/>
                  <a:gd name="connsiteY42" fmla="*/ 845713 h 989628"/>
                  <a:gd name="connsiteX43" fmla="*/ 953430 w 1517035"/>
                  <a:gd name="connsiteY43" fmla="*/ 825680 h 989628"/>
                  <a:gd name="connsiteX44" fmla="*/ 953430 w 1517035"/>
                  <a:gd name="connsiteY44" fmla="*/ 780604 h 989628"/>
                  <a:gd name="connsiteX45" fmla="*/ 953430 w 1517035"/>
                  <a:gd name="connsiteY45" fmla="*/ 778458 h 989628"/>
                  <a:gd name="connsiteX46" fmla="*/ 952002 w 1517035"/>
                  <a:gd name="connsiteY46" fmla="*/ 777027 h 989628"/>
                  <a:gd name="connsiteX47" fmla="*/ 902739 w 1517035"/>
                  <a:gd name="connsiteY47" fmla="*/ 664697 h 989628"/>
                  <a:gd name="connsiteX48" fmla="*/ 902025 w 1517035"/>
                  <a:gd name="connsiteY48" fmla="*/ 663266 h 989628"/>
                  <a:gd name="connsiteX49" fmla="*/ 900597 w 1517035"/>
                  <a:gd name="connsiteY49" fmla="*/ 661835 h 989628"/>
                  <a:gd name="connsiteX50" fmla="*/ 877036 w 1517035"/>
                  <a:gd name="connsiteY50" fmla="*/ 623914 h 989628"/>
                  <a:gd name="connsiteX51" fmla="*/ 296296 w 1517035"/>
                  <a:gd name="connsiteY51" fmla="*/ 623914 h 989628"/>
                  <a:gd name="connsiteX52" fmla="*/ 322712 w 1517035"/>
                  <a:gd name="connsiteY52" fmla="*/ 636077 h 989628"/>
                  <a:gd name="connsiteX53" fmla="*/ 334850 w 1517035"/>
                  <a:gd name="connsiteY53" fmla="*/ 647525 h 989628"/>
                  <a:gd name="connsiteX54" fmla="*/ 339134 w 1517035"/>
                  <a:gd name="connsiteY54" fmla="*/ 652533 h 989628"/>
                  <a:gd name="connsiteX55" fmla="*/ 389825 w 1517035"/>
                  <a:gd name="connsiteY55" fmla="*/ 768441 h 989628"/>
                  <a:gd name="connsiteX56" fmla="*/ 474073 w 1517035"/>
                  <a:gd name="connsiteY56" fmla="*/ 814947 h 989628"/>
                  <a:gd name="connsiteX57" fmla="*/ 558321 w 1517035"/>
                  <a:gd name="connsiteY57" fmla="*/ 768441 h 989628"/>
                  <a:gd name="connsiteX58" fmla="*/ 609013 w 1517035"/>
                  <a:gd name="connsiteY58" fmla="*/ 652533 h 989628"/>
                  <a:gd name="connsiteX59" fmla="*/ 614011 w 1517035"/>
                  <a:gd name="connsiteY59" fmla="*/ 647525 h 989628"/>
                  <a:gd name="connsiteX60" fmla="*/ 625434 w 1517035"/>
                  <a:gd name="connsiteY60" fmla="*/ 636793 h 989628"/>
                  <a:gd name="connsiteX61" fmla="*/ 651851 w 1517035"/>
                  <a:gd name="connsiteY61" fmla="*/ 623914 h 989628"/>
                  <a:gd name="connsiteX62" fmla="*/ 628290 w 1517035"/>
                  <a:gd name="connsiteY62" fmla="*/ 661835 h 989628"/>
                  <a:gd name="connsiteX63" fmla="*/ 626862 w 1517035"/>
                  <a:gd name="connsiteY63" fmla="*/ 663266 h 989628"/>
                  <a:gd name="connsiteX64" fmla="*/ 626148 w 1517035"/>
                  <a:gd name="connsiteY64" fmla="*/ 664697 h 989628"/>
                  <a:gd name="connsiteX65" fmla="*/ 576884 w 1517035"/>
                  <a:gd name="connsiteY65" fmla="*/ 777027 h 989628"/>
                  <a:gd name="connsiteX66" fmla="*/ 576170 w 1517035"/>
                  <a:gd name="connsiteY66" fmla="*/ 778458 h 989628"/>
                  <a:gd name="connsiteX67" fmla="*/ 576170 w 1517035"/>
                  <a:gd name="connsiteY67" fmla="*/ 779889 h 989628"/>
                  <a:gd name="connsiteX68" fmla="*/ 576170 w 1517035"/>
                  <a:gd name="connsiteY68" fmla="*/ 820671 h 989628"/>
                  <a:gd name="connsiteX69" fmla="*/ 571173 w 1517035"/>
                  <a:gd name="connsiteY69" fmla="*/ 827111 h 989628"/>
                  <a:gd name="connsiteX70" fmla="*/ 556179 w 1517035"/>
                  <a:gd name="connsiteY70" fmla="*/ 845713 h 989628"/>
                  <a:gd name="connsiteX71" fmla="*/ 556179 w 1517035"/>
                  <a:gd name="connsiteY71" fmla="*/ 807793 h 989628"/>
                  <a:gd name="connsiteX72" fmla="*/ 556179 w 1517035"/>
                  <a:gd name="connsiteY72" fmla="*/ 797060 h 989628"/>
                  <a:gd name="connsiteX73" fmla="*/ 546898 w 1517035"/>
                  <a:gd name="connsiteY73" fmla="*/ 802784 h 989628"/>
                  <a:gd name="connsiteX74" fmla="*/ 474073 w 1517035"/>
                  <a:gd name="connsiteY74" fmla="*/ 834981 h 989628"/>
                  <a:gd name="connsiteX75" fmla="*/ 401963 w 1517035"/>
                  <a:gd name="connsiteY75" fmla="*/ 803500 h 989628"/>
                  <a:gd name="connsiteX76" fmla="*/ 392681 w 1517035"/>
                  <a:gd name="connsiteY76" fmla="*/ 797060 h 989628"/>
                  <a:gd name="connsiteX77" fmla="*/ 392681 w 1517035"/>
                  <a:gd name="connsiteY77" fmla="*/ 807793 h 989628"/>
                  <a:gd name="connsiteX78" fmla="*/ 392681 w 1517035"/>
                  <a:gd name="connsiteY78" fmla="*/ 845713 h 989628"/>
                  <a:gd name="connsiteX79" fmla="*/ 372690 w 1517035"/>
                  <a:gd name="connsiteY79" fmla="*/ 825680 h 989628"/>
                  <a:gd name="connsiteX80" fmla="*/ 372690 w 1517035"/>
                  <a:gd name="connsiteY80" fmla="*/ 780604 h 989628"/>
                  <a:gd name="connsiteX81" fmla="*/ 372690 w 1517035"/>
                  <a:gd name="connsiteY81" fmla="*/ 778458 h 989628"/>
                  <a:gd name="connsiteX82" fmla="*/ 371976 w 1517035"/>
                  <a:gd name="connsiteY82" fmla="*/ 777027 h 989628"/>
                  <a:gd name="connsiteX83" fmla="*/ 321999 w 1517035"/>
                  <a:gd name="connsiteY83" fmla="*/ 664697 h 989628"/>
                  <a:gd name="connsiteX84" fmla="*/ 321999 w 1517035"/>
                  <a:gd name="connsiteY84" fmla="*/ 663266 h 989628"/>
                  <a:gd name="connsiteX85" fmla="*/ 319857 w 1517035"/>
                  <a:gd name="connsiteY85" fmla="*/ 661835 h 989628"/>
                  <a:gd name="connsiteX86" fmla="*/ 296296 w 1517035"/>
                  <a:gd name="connsiteY86" fmla="*/ 623914 h 989628"/>
                  <a:gd name="connsiteX87" fmla="*/ 1228184 w 1517035"/>
                  <a:gd name="connsiteY87" fmla="*/ 256508 h 989628"/>
                  <a:gd name="connsiteX88" fmla="*/ 1409789 w 1517035"/>
                  <a:gd name="connsiteY88" fmla="*/ 287204 h 989628"/>
                  <a:gd name="connsiteX89" fmla="*/ 1465557 w 1517035"/>
                  <a:gd name="connsiteY89" fmla="*/ 340742 h 989628"/>
                  <a:gd name="connsiteX90" fmla="*/ 1517035 w 1517035"/>
                  <a:gd name="connsiteY90" fmla="*/ 514920 h 989628"/>
                  <a:gd name="connsiteX91" fmla="*/ 1517035 w 1517035"/>
                  <a:gd name="connsiteY91" fmla="*/ 973924 h 989628"/>
                  <a:gd name="connsiteX92" fmla="*/ 1501306 w 1517035"/>
                  <a:gd name="connsiteY92" fmla="*/ 989628 h 989628"/>
                  <a:gd name="connsiteX93" fmla="*/ 1390484 w 1517035"/>
                  <a:gd name="connsiteY93" fmla="*/ 989628 h 989628"/>
                  <a:gd name="connsiteX94" fmla="*/ 1391199 w 1517035"/>
                  <a:gd name="connsiteY94" fmla="*/ 976065 h 989628"/>
                  <a:gd name="connsiteX95" fmla="*/ 1391199 w 1517035"/>
                  <a:gd name="connsiteY95" fmla="*/ 973210 h 989628"/>
                  <a:gd name="connsiteX96" fmla="*/ 1193150 w 1517035"/>
                  <a:gd name="connsiteY96" fmla="*/ 818305 h 989628"/>
                  <a:gd name="connsiteX97" fmla="*/ 1193150 w 1517035"/>
                  <a:gd name="connsiteY97" fmla="*/ 789037 h 989628"/>
                  <a:gd name="connsiteX98" fmla="*/ 1238194 w 1517035"/>
                  <a:gd name="connsiteY98" fmla="*/ 685530 h 989628"/>
                  <a:gd name="connsiteX99" fmla="*/ 1270368 w 1517035"/>
                  <a:gd name="connsiteY99" fmla="*/ 621997 h 989628"/>
                  <a:gd name="connsiteX100" fmla="*/ 1258213 w 1517035"/>
                  <a:gd name="connsiteY100" fmla="*/ 604865 h 989628"/>
                  <a:gd name="connsiteX101" fmla="*/ 1262503 w 1517035"/>
                  <a:gd name="connsiteY101" fmla="*/ 594157 h 989628"/>
                  <a:gd name="connsiteX102" fmla="*/ 1271798 w 1517035"/>
                  <a:gd name="connsiteY102" fmla="*/ 524200 h 989628"/>
                  <a:gd name="connsiteX103" fmla="*/ 1135237 w 1517035"/>
                  <a:gd name="connsiteY103" fmla="*/ 332890 h 989628"/>
                  <a:gd name="connsiteX104" fmla="*/ 1228184 w 1517035"/>
                  <a:gd name="connsiteY104" fmla="*/ 256508 h 989628"/>
                  <a:gd name="connsiteX105" fmla="*/ 954690 w 1517035"/>
                  <a:gd name="connsiteY105" fmla="*/ 256508 h 989628"/>
                  <a:gd name="connsiteX106" fmla="*/ 1031110 w 1517035"/>
                  <a:gd name="connsiteY106" fmla="*/ 319365 h 989628"/>
                  <a:gd name="connsiteX107" fmla="*/ 868271 w 1517035"/>
                  <a:gd name="connsiteY107" fmla="*/ 416508 h 989628"/>
                  <a:gd name="connsiteX108" fmla="*/ 824704 w 1517035"/>
                  <a:gd name="connsiteY108" fmla="*/ 323651 h 989628"/>
                  <a:gd name="connsiteX109" fmla="*/ 788994 w 1517035"/>
                  <a:gd name="connsiteY109" fmla="*/ 280794 h 989628"/>
                  <a:gd name="connsiteX110" fmla="*/ 954690 w 1517035"/>
                  <a:gd name="connsiteY110" fmla="*/ 256508 h 989628"/>
                  <a:gd name="connsiteX111" fmla="*/ 561890 w 1517035"/>
                  <a:gd name="connsiteY111" fmla="*/ 256508 h 989628"/>
                  <a:gd name="connsiteX112" fmla="*/ 744279 w 1517035"/>
                  <a:gd name="connsiteY112" fmla="*/ 287258 h 989628"/>
                  <a:gd name="connsiteX113" fmla="*/ 799353 w 1517035"/>
                  <a:gd name="connsiteY113" fmla="*/ 340891 h 989628"/>
                  <a:gd name="connsiteX114" fmla="*/ 846560 w 1517035"/>
                  <a:gd name="connsiteY114" fmla="*/ 463889 h 989628"/>
                  <a:gd name="connsiteX115" fmla="*/ 840838 w 1517035"/>
                  <a:gd name="connsiteY115" fmla="*/ 486772 h 989628"/>
                  <a:gd name="connsiteX116" fmla="*/ 678476 w 1517035"/>
                  <a:gd name="connsiteY116" fmla="*/ 429564 h 989628"/>
                  <a:gd name="connsiteX117" fmla="*/ 677761 w 1517035"/>
                  <a:gd name="connsiteY117" fmla="*/ 429564 h 989628"/>
                  <a:gd name="connsiteX118" fmla="*/ 669178 w 1517035"/>
                  <a:gd name="connsiteY118" fmla="*/ 430994 h 989628"/>
                  <a:gd name="connsiteX119" fmla="*/ 629124 w 1517035"/>
                  <a:gd name="connsiteY119" fmla="*/ 378791 h 989628"/>
                  <a:gd name="connsiteX120" fmla="*/ 474630 w 1517035"/>
                  <a:gd name="connsiteY120" fmla="*/ 318722 h 989628"/>
                  <a:gd name="connsiteX121" fmla="*/ 454603 w 1517035"/>
                  <a:gd name="connsiteY121" fmla="*/ 319437 h 989628"/>
                  <a:gd name="connsiteX122" fmla="*/ 561890 w 1517035"/>
                  <a:gd name="connsiteY122" fmla="*/ 256508 h 989628"/>
                  <a:gd name="connsiteX123" fmla="*/ 288361 w 1517035"/>
                  <a:gd name="connsiteY123" fmla="*/ 256508 h 989628"/>
                  <a:gd name="connsiteX124" fmla="*/ 425405 w 1517035"/>
                  <a:gd name="connsiteY124" fmla="*/ 322182 h 989628"/>
                  <a:gd name="connsiteX125" fmla="*/ 436825 w 1517035"/>
                  <a:gd name="connsiteY125" fmla="*/ 321468 h 989628"/>
                  <a:gd name="connsiteX126" fmla="*/ 319767 w 1517035"/>
                  <a:gd name="connsiteY126" fmla="*/ 378576 h 989628"/>
                  <a:gd name="connsiteX127" fmla="*/ 279796 w 1517035"/>
                  <a:gd name="connsiteY127" fmla="*/ 430687 h 989628"/>
                  <a:gd name="connsiteX128" fmla="*/ 270517 w 1517035"/>
                  <a:gd name="connsiteY128" fmla="*/ 429259 h 989628"/>
                  <a:gd name="connsiteX129" fmla="*/ 88507 w 1517035"/>
                  <a:gd name="connsiteY129" fmla="*/ 542047 h 989628"/>
                  <a:gd name="connsiteX130" fmla="*/ 100641 w 1517035"/>
                  <a:gd name="connsiteY130" fmla="*/ 604151 h 989628"/>
                  <a:gd name="connsiteX131" fmla="*/ 116344 w 1517035"/>
                  <a:gd name="connsiteY131" fmla="*/ 701948 h 989628"/>
                  <a:gd name="connsiteX132" fmla="*/ 151318 w 1517035"/>
                  <a:gd name="connsiteY132" fmla="*/ 736927 h 989628"/>
                  <a:gd name="connsiteX133" fmla="*/ 152746 w 1517035"/>
                  <a:gd name="connsiteY133" fmla="*/ 736927 h 989628"/>
                  <a:gd name="connsiteX134" fmla="*/ 153460 w 1517035"/>
                  <a:gd name="connsiteY134" fmla="*/ 736927 h 989628"/>
                  <a:gd name="connsiteX135" fmla="*/ 278369 w 1517035"/>
                  <a:gd name="connsiteY135" fmla="*/ 671967 h 989628"/>
                  <a:gd name="connsiteX136" fmla="*/ 290503 w 1517035"/>
                  <a:gd name="connsiteY136" fmla="*/ 685530 h 989628"/>
                  <a:gd name="connsiteX137" fmla="*/ 335470 w 1517035"/>
                  <a:gd name="connsiteY137" fmla="*/ 789037 h 989628"/>
                  <a:gd name="connsiteX138" fmla="*/ 335470 w 1517035"/>
                  <a:gd name="connsiteY138" fmla="*/ 817591 h 989628"/>
                  <a:gd name="connsiteX139" fmla="*/ 246963 w 1517035"/>
                  <a:gd name="connsiteY139" fmla="*/ 836865 h 989628"/>
                  <a:gd name="connsiteX140" fmla="*/ 139184 w 1517035"/>
                  <a:gd name="connsiteY140" fmla="*/ 965357 h 989628"/>
                  <a:gd name="connsiteX141" fmla="*/ 137757 w 1517035"/>
                  <a:gd name="connsiteY141" fmla="*/ 976065 h 989628"/>
                  <a:gd name="connsiteX142" fmla="*/ 138470 w 1517035"/>
                  <a:gd name="connsiteY142" fmla="*/ 989628 h 989628"/>
                  <a:gd name="connsiteX143" fmla="*/ 15703 w 1517035"/>
                  <a:gd name="connsiteY143" fmla="*/ 989628 h 989628"/>
                  <a:gd name="connsiteX144" fmla="*/ 0 w 1517035"/>
                  <a:gd name="connsiteY144" fmla="*/ 973924 h 989628"/>
                  <a:gd name="connsiteX145" fmla="*/ 0 w 1517035"/>
                  <a:gd name="connsiteY145" fmla="*/ 514920 h 989628"/>
                  <a:gd name="connsiteX146" fmla="*/ 51391 w 1517035"/>
                  <a:gd name="connsiteY146" fmla="*/ 340742 h 989628"/>
                  <a:gd name="connsiteX147" fmla="*/ 107065 w 1517035"/>
                  <a:gd name="connsiteY147" fmla="*/ 287204 h 989628"/>
                  <a:gd name="connsiteX148" fmla="*/ 288361 w 1517035"/>
                  <a:gd name="connsiteY148" fmla="*/ 256508 h 989628"/>
                  <a:gd name="connsiteX149" fmla="*/ 870263 w 1517035"/>
                  <a:gd name="connsiteY149" fmla="*/ 0 h 989628"/>
                  <a:gd name="connsiteX150" fmla="*/ 896642 w 1517035"/>
                  <a:gd name="connsiteY150" fmla="*/ 12152 h 989628"/>
                  <a:gd name="connsiteX151" fmla="*/ 913754 w 1517035"/>
                  <a:gd name="connsiteY151" fmla="*/ 27878 h 989628"/>
                  <a:gd name="connsiteX152" fmla="*/ 918744 w 1517035"/>
                  <a:gd name="connsiteY152" fmla="*/ 32882 h 989628"/>
                  <a:gd name="connsiteX153" fmla="*/ 985763 w 1517035"/>
                  <a:gd name="connsiteY153" fmla="*/ 175130 h 989628"/>
                  <a:gd name="connsiteX154" fmla="*/ 1091282 w 1517035"/>
                  <a:gd name="connsiteY154" fmla="*/ 228027 h 989628"/>
                  <a:gd name="connsiteX155" fmla="*/ 1197514 w 1517035"/>
                  <a:gd name="connsiteY155" fmla="*/ 175130 h 989628"/>
                  <a:gd name="connsiteX156" fmla="*/ 1264533 w 1517035"/>
                  <a:gd name="connsiteY156" fmla="*/ 32882 h 989628"/>
                  <a:gd name="connsiteX157" fmla="*/ 1269523 w 1517035"/>
                  <a:gd name="connsiteY157" fmla="*/ 27878 h 989628"/>
                  <a:gd name="connsiteX158" fmla="*/ 1286635 w 1517035"/>
                  <a:gd name="connsiteY158" fmla="*/ 12152 h 989628"/>
                  <a:gd name="connsiteX159" fmla="*/ 1313014 w 1517035"/>
                  <a:gd name="connsiteY159" fmla="*/ 0 h 989628"/>
                  <a:gd name="connsiteX160" fmla="*/ 1283783 w 1517035"/>
                  <a:gd name="connsiteY160" fmla="*/ 42889 h 989628"/>
                  <a:gd name="connsiteX161" fmla="*/ 1281644 w 1517035"/>
                  <a:gd name="connsiteY161" fmla="*/ 43604 h 989628"/>
                  <a:gd name="connsiteX162" fmla="*/ 1280931 w 1517035"/>
                  <a:gd name="connsiteY162" fmla="*/ 45748 h 989628"/>
                  <a:gd name="connsiteX163" fmla="*/ 1210347 w 1517035"/>
                  <a:gd name="connsiteY163" fmla="*/ 190142 h 989628"/>
                  <a:gd name="connsiteX164" fmla="*/ 1205357 w 1517035"/>
                  <a:gd name="connsiteY164" fmla="*/ 193716 h 989628"/>
                  <a:gd name="connsiteX165" fmla="*/ 1203218 w 1517035"/>
                  <a:gd name="connsiteY165" fmla="*/ 195860 h 989628"/>
                  <a:gd name="connsiteX166" fmla="*/ 1203218 w 1517035"/>
                  <a:gd name="connsiteY166" fmla="*/ 198719 h 989628"/>
                  <a:gd name="connsiteX167" fmla="*/ 1203218 w 1517035"/>
                  <a:gd name="connsiteY167" fmla="*/ 228742 h 989628"/>
                  <a:gd name="connsiteX168" fmla="*/ 1183255 w 1517035"/>
                  <a:gd name="connsiteY168" fmla="*/ 245183 h 989628"/>
                  <a:gd name="connsiteX169" fmla="*/ 1183255 w 1517035"/>
                  <a:gd name="connsiteY169" fmla="*/ 220879 h 989628"/>
                  <a:gd name="connsiteX170" fmla="*/ 1183255 w 1517035"/>
                  <a:gd name="connsiteY170" fmla="*/ 210156 h 989628"/>
                  <a:gd name="connsiteX171" fmla="*/ 1174699 w 1517035"/>
                  <a:gd name="connsiteY171" fmla="*/ 215875 h 989628"/>
                  <a:gd name="connsiteX172" fmla="*/ 1091282 w 1517035"/>
                  <a:gd name="connsiteY172" fmla="*/ 248042 h 989628"/>
                  <a:gd name="connsiteX173" fmla="*/ 1008578 w 1517035"/>
                  <a:gd name="connsiteY173" fmla="*/ 215875 h 989628"/>
                  <a:gd name="connsiteX174" fmla="*/ 999309 w 1517035"/>
                  <a:gd name="connsiteY174" fmla="*/ 210156 h 989628"/>
                  <a:gd name="connsiteX175" fmla="*/ 999309 w 1517035"/>
                  <a:gd name="connsiteY175" fmla="*/ 220164 h 989628"/>
                  <a:gd name="connsiteX176" fmla="*/ 999309 w 1517035"/>
                  <a:gd name="connsiteY176" fmla="*/ 245183 h 989628"/>
                  <a:gd name="connsiteX177" fmla="*/ 979346 w 1517035"/>
                  <a:gd name="connsiteY177" fmla="*/ 228742 h 989628"/>
                  <a:gd name="connsiteX178" fmla="*/ 979346 w 1517035"/>
                  <a:gd name="connsiteY178" fmla="*/ 198005 h 989628"/>
                  <a:gd name="connsiteX179" fmla="*/ 979346 w 1517035"/>
                  <a:gd name="connsiteY179" fmla="*/ 195860 h 989628"/>
                  <a:gd name="connsiteX180" fmla="*/ 977207 w 1517035"/>
                  <a:gd name="connsiteY180" fmla="*/ 193716 h 989628"/>
                  <a:gd name="connsiteX181" fmla="*/ 972930 w 1517035"/>
                  <a:gd name="connsiteY181" fmla="*/ 190142 h 989628"/>
                  <a:gd name="connsiteX182" fmla="*/ 901633 w 1517035"/>
                  <a:gd name="connsiteY182" fmla="*/ 45748 h 989628"/>
                  <a:gd name="connsiteX183" fmla="*/ 901633 w 1517035"/>
                  <a:gd name="connsiteY183" fmla="*/ 43604 h 989628"/>
                  <a:gd name="connsiteX184" fmla="*/ 899494 w 1517035"/>
                  <a:gd name="connsiteY184" fmla="*/ 42889 h 989628"/>
                  <a:gd name="connsiteX185" fmla="*/ 870263 w 1517035"/>
                  <a:gd name="connsiteY185" fmla="*/ 0 h 989628"/>
                  <a:gd name="connsiteX186" fmla="*/ 203174 w 1517035"/>
                  <a:gd name="connsiteY186" fmla="*/ 0 h 989628"/>
                  <a:gd name="connsiteX187" fmla="*/ 229604 w 1517035"/>
                  <a:gd name="connsiteY187" fmla="*/ 12130 h 989628"/>
                  <a:gd name="connsiteX188" fmla="*/ 246748 w 1517035"/>
                  <a:gd name="connsiteY188" fmla="*/ 27827 h 989628"/>
                  <a:gd name="connsiteX189" fmla="*/ 251748 w 1517035"/>
                  <a:gd name="connsiteY189" fmla="*/ 32822 h 989628"/>
                  <a:gd name="connsiteX190" fmla="*/ 318895 w 1517035"/>
                  <a:gd name="connsiteY190" fmla="*/ 174814 h 989628"/>
                  <a:gd name="connsiteX191" fmla="*/ 424615 w 1517035"/>
                  <a:gd name="connsiteY191" fmla="*/ 227615 h 989628"/>
                  <a:gd name="connsiteX192" fmla="*/ 531050 w 1517035"/>
                  <a:gd name="connsiteY192" fmla="*/ 174814 h 989628"/>
                  <a:gd name="connsiteX193" fmla="*/ 598197 w 1517035"/>
                  <a:gd name="connsiteY193" fmla="*/ 32822 h 989628"/>
                  <a:gd name="connsiteX194" fmla="*/ 603197 w 1517035"/>
                  <a:gd name="connsiteY194" fmla="*/ 27827 h 989628"/>
                  <a:gd name="connsiteX195" fmla="*/ 619626 w 1517035"/>
                  <a:gd name="connsiteY195" fmla="*/ 12843 h 989628"/>
                  <a:gd name="connsiteX196" fmla="*/ 646771 w 1517035"/>
                  <a:gd name="connsiteY196" fmla="*/ 0 h 989628"/>
                  <a:gd name="connsiteX197" fmla="*/ 617483 w 1517035"/>
                  <a:gd name="connsiteY197" fmla="*/ 42812 h 989628"/>
                  <a:gd name="connsiteX198" fmla="*/ 615340 w 1517035"/>
                  <a:gd name="connsiteY198" fmla="*/ 43525 h 989628"/>
                  <a:gd name="connsiteX199" fmla="*/ 614626 w 1517035"/>
                  <a:gd name="connsiteY199" fmla="*/ 45666 h 989628"/>
                  <a:gd name="connsiteX200" fmla="*/ 543908 w 1517035"/>
                  <a:gd name="connsiteY200" fmla="*/ 189798 h 989628"/>
                  <a:gd name="connsiteX201" fmla="*/ 539622 w 1517035"/>
                  <a:gd name="connsiteY201" fmla="*/ 193366 h 989628"/>
                  <a:gd name="connsiteX202" fmla="*/ 537479 w 1517035"/>
                  <a:gd name="connsiteY202" fmla="*/ 195507 h 989628"/>
                  <a:gd name="connsiteX203" fmla="*/ 537479 w 1517035"/>
                  <a:gd name="connsiteY203" fmla="*/ 197647 h 989628"/>
                  <a:gd name="connsiteX204" fmla="*/ 537479 w 1517035"/>
                  <a:gd name="connsiteY204" fmla="*/ 226902 h 989628"/>
                  <a:gd name="connsiteX205" fmla="*/ 531764 w 1517035"/>
                  <a:gd name="connsiteY205" fmla="*/ 234751 h 989628"/>
                  <a:gd name="connsiteX206" fmla="*/ 517478 w 1517035"/>
                  <a:gd name="connsiteY206" fmla="*/ 249735 h 989628"/>
                  <a:gd name="connsiteX207" fmla="*/ 517478 w 1517035"/>
                  <a:gd name="connsiteY207" fmla="*/ 219767 h 989628"/>
                  <a:gd name="connsiteX208" fmla="*/ 517478 w 1517035"/>
                  <a:gd name="connsiteY208" fmla="*/ 209777 h 989628"/>
                  <a:gd name="connsiteX209" fmla="*/ 508191 w 1517035"/>
                  <a:gd name="connsiteY209" fmla="*/ 215485 h 989628"/>
                  <a:gd name="connsiteX210" fmla="*/ 424615 w 1517035"/>
                  <a:gd name="connsiteY210" fmla="*/ 247594 h 989628"/>
                  <a:gd name="connsiteX211" fmla="*/ 341753 w 1517035"/>
                  <a:gd name="connsiteY211" fmla="*/ 215485 h 989628"/>
                  <a:gd name="connsiteX212" fmla="*/ 333181 w 1517035"/>
                  <a:gd name="connsiteY212" fmla="*/ 209777 h 989628"/>
                  <a:gd name="connsiteX213" fmla="*/ 333181 w 1517035"/>
                  <a:gd name="connsiteY213" fmla="*/ 220480 h 989628"/>
                  <a:gd name="connsiteX214" fmla="*/ 333181 w 1517035"/>
                  <a:gd name="connsiteY214" fmla="*/ 249735 h 989628"/>
                  <a:gd name="connsiteX215" fmla="*/ 318180 w 1517035"/>
                  <a:gd name="connsiteY215" fmla="*/ 234751 h 989628"/>
                  <a:gd name="connsiteX216" fmla="*/ 313180 w 1517035"/>
                  <a:gd name="connsiteY216" fmla="*/ 226902 h 989628"/>
                  <a:gd name="connsiteX217" fmla="*/ 313180 w 1517035"/>
                  <a:gd name="connsiteY217" fmla="*/ 198361 h 989628"/>
                  <a:gd name="connsiteX218" fmla="*/ 313180 w 1517035"/>
                  <a:gd name="connsiteY218" fmla="*/ 195507 h 989628"/>
                  <a:gd name="connsiteX219" fmla="*/ 311037 w 1517035"/>
                  <a:gd name="connsiteY219" fmla="*/ 193366 h 989628"/>
                  <a:gd name="connsiteX220" fmla="*/ 306037 w 1517035"/>
                  <a:gd name="connsiteY220" fmla="*/ 189798 h 989628"/>
                  <a:gd name="connsiteX221" fmla="*/ 235318 w 1517035"/>
                  <a:gd name="connsiteY221" fmla="*/ 45666 h 989628"/>
                  <a:gd name="connsiteX222" fmla="*/ 234604 w 1517035"/>
                  <a:gd name="connsiteY222" fmla="*/ 43525 h 989628"/>
                  <a:gd name="connsiteX223" fmla="*/ 232461 w 1517035"/>
                  <a:gd name="connsiteY223" fmla="*/ 42812 h 989628"/>
                  <a:gd name="connsiteX224" fmla="*/ 203174 w 1517035"/>
                  <a:gd name="connsiteY224" fmla="*/ 0 h 98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517035" h="989628">
                    <a:moveTo>
                      <a:pt x="839709" y="628147"/>
                    </a:moveTo>
                    <a:cubicBezTo>
                      <a:pt x="843986" y="651016"/>
                      <a:pt x="854678" y="671027"/>
                      <a:pt x="870359" y="685320"/>
                    </a:cubicBezTo>
                    <a:cubicBezTo>
                      <a:pt x="891743" y="742493"/>
                      <a:pt x="905999" y="772508"/>
                      <a:pt x="915978" y="788946"/>
                    </a:cubicBezTo>
                    <a:cubicBezTo>
                      <a:pt x="915978" y="788946"/>
                      <a:pt x="915978" y="788946"/>
                      <a:pt x="915978" y="817532"/>
                    </a:cubicBezTo>
                    <a:cubicBezTo>
                      <a:pt x="900296" y="818247"/>
                      <a:pt x="864657" y="822535"/>
                      <a:pt x="826879" y="836828"/>
                    </a:cubicBezTo>
                    <a:cubicBezTo>
                      <a:pt x="799793" y="847548"/>
                      <a:pt x="776984" y="862556"/>
                      <a:pt x="759164" y="880422"/>
                    </a:cubicBezTo>
                    <a:cubicBezTo>
                      <a:pt x="709269" y="836828"/>
                      <a:pt x="637991" y="822535"/>
                      <a:pt x="613756" y="818247"/>
                    </a:cubicBezTo>
                    <a:cubicBezTo>
                      <a:pt x="613756" y="818247"/>
                      <a:pt x="613756" y="818247"/>
                      <a:pt x="613756" y="788946"/>
                    </a:cubicBezTo>
                    <a:cubicBezTo>
                      <a:pt x="623022" y="772508"/>
                      <a:pt x="637991" y="742493"/>
                      <a:pt x="658661" y="685320"/>
                    </a:cubicBezTo>
                    <a:cubicBezTo>
                      <a:pt x="662938" y="681032"/>
                      <a:pt x="667215" y="676744"/>
                      <a:pt x="670779" y="671741"/>
                    </a:cubicBezTo>
                    <a:cubicBezTo>
                      <a:pt x="697865" y="713192"/>
                      <a:pt x="758452" y="734631"/>
                      <a:pt x="794804" y="736775"/>
                    </a:cubicBezTo>
                    <a:cubicBezTo>
                      <a:pt x="794804" y="736775"/>
                      <a:pt x="794804" y="736775"/>
                      <a:pt x="796229" y="736775"/>
                    </a:cubicBezTo>
                    <a:cubicBezTo>
                      <a:pt x="796229" y="736775"/>
                      <a:pt x="796229" y="736775"/>
                      <a:pt x="796942" y="736775"/>
                    </a:cubicBezTo>
                    <a:cubicBezTo>
                      <a:pt x="816187" y="736775"/>
                      <a:pt x="831869" y="721053"/>
                      <a:pt x="831869" y="702472"/>
                    </a:cubicBezTo>
                    <a:cubicBezTo>
                      <a:pt x="832582" y="666024"/>
                      <a:pt x="835433" y="644584"/>
                      <a:pt x="839709" y="628147"/>
                    </a:cubicBezTo>
                    <a:close/>
                    <a:moveTo>
                      <a:pt x="877036" y="623914"/>
                    </a:moveTo>
                    <a:cubicBezTo>
                      <a:pt x="877036" y="623914"/>
                      <a:pt x="877036" y="623914"/>
                      <a:pt x="903452" y="636077"/>
                    </a:cubicBezTo>
                    <a:cubicBezTo>
                      <a:pt x="906308" y="641086"/>
                      <a:pt x="910592" y="644663"/>
                      <a:pt x="914876" y="647525"/>
                    </a:cubicBezTo>
                    <a:cubicBezTo>
                      <a:pt x="917018" y="648956"/>
                      <a:pt x="919160" y="650387"/>
                      <a:pt x="919874" y="652533"/>
                    </a:cubicBezTo>
                    <a:cubicBezTo>
                      <a:pt x="933439" y="691885"/>
                      <a:pt x="959856" y="757709"/>
                      <a:pt x="970565" y="768441"/>
                    </a:cubicBezTo>
                    <a:cubicBezTo>
                      <a:pt x="989842" y="787044"/>
                      <a:pt x="1032680" y="814947"/>
                      <a:pt x="1054813" y="814947"/>
                    </a:cubicBezTo>
                    <a:cubicBezTo>
                      <a:pt x="1076232" y="814947"/>
                      <a:pt x="1119784" y="787044"/>
                      <a:pt x="1139062" y="768441"/>
                    </a:cubicBezTo>
                    <a:cubicBezTo>
                      <a:pt x="1149771" y="757709"/>
                      <a:pt x="1175474" y="691885"/>
                      <a:pt x="1189753" y="652533"/>
                    </a:cubicBezTo>
                    <a:cubicBezTo>
                      <a:pt x="1190467" y="650387"/>
                      <a:pt x="1191895" y="648956"/>
                      <a:pt x="1194037" y="647525"/>
                    </a:cubicBezTo>
                    <a:cubicBezTo>
                      <a:pt x="1199035" y="644663"/>
                      <a:pt x="1202605" y="641086"/>
                      <a:pt x="1206174" y="636793"/>
                    </a:cubicBezTo>
                    <a:cubicBezTo>
                      <a:pt x="1206174" y="636793"/>
                      <a:pt x="1206174" y="636793"/>
                      <a:pt x="1232591" y="623914"/>
                    </a:cubicBezTo>
                    <a:cubicBezTo>
                      <a:pt x="1229735" y="634646"/>
                      <a:pt x="1224024" y="651102"/>
                      <a:pt x="1209030" y="661835"/>
                    </a:cubicBezTo>
                    <a:cubicBezTo>
                      <a:pt x="1209030" y="661835"/>
                      <a:pt x="1209030" y="661835"/>
                      <a:pt x="1207602" y="663266"/>
                    </a:cubicBezTo>
                    <a:cubicBezTo>
                      <a:pt x="1207602" y="663266"/>
                      <a:pt x="1207602" y="663266"/>
                      <a:pt x="1206888" y="664697"/>
                    </a:cubicBezTo>
                    <a:cubicBezTo>
                      <a:pt x="1197607" y="690454"/>
                      <a:pt x="1174046" y="753416"/>
                      <a:pt x="1157625" y="777027"/>
                    </a:cubicBezTo>
                    <a:cubicBezTo>
                      <a:pt x="1157625" y="777027"/>
                      <a:pt x="1157625" y="777027"/>
                      <a:pt x="1156197" y="778458"/>
                    </a:cubicBezTo>
                    <a:cubicBezTo>
                      <a:pt x="1156197" y="778458"/>
                      <a:pt x="1156197" y="778458"/>
                      <a:pt x="1156197" y="779889"/>
                    </a:cubicBezTo>
                    <a:cubicBezTo>
                      <a:pt x="1156197" y="779889"/>
                      <a:pt x="1156197" y="779889"/>
                      <a:pt x="1156197" y="820671"/>
                    </a:cubicBezTo>
                    <a:lnTo>
                      <a:pt x="1151913" y="827111"/>
                    </a:lnTo>
                    <a:cubicBezTo>
                      <a:pt x="1148343" y="832834"/>
                      <a:pt x="1143346" y="839274"/>
                      <a:pt x="1136206" y="845713"/>
                    </a:cubicBezTo>
                    <a:cubicBezTo>
                      <a:pt x="1136206" y="845713"/>
                      <a:pt x="1136206" y="845713"/>
                      <a:pt x="1136206" y="807793"/>
                    </a:cubicBezTo>
                    <a:cubicBezTo>
                      <a:pt x="1136206" y="807793"/>
                      <a:pt x="1136206" y="807793"/>
                      <a:pt x="1136206" y="797060"/>
                    </a:cubicBezTo>
                    <a:cubicBezTo>
                      <a:pt x="1136206" y="797060"/>
                      <a:pt x="1136206" y="797060"/>
                      <a:pt x="1127638" y="802784"/>
                    </a:cubicBezTo>
                    <a:cubicBezTo>
                      <a:pt x="1099079" y="823533"/>
                      <a:pt x="1072662" y="834981"/>
                      <a:pt x="1054813" y="834981"/>
                    </a:cubicBezTo>
                    <a:cubicBezTo>
                      <a:pt x="1036964" y="834981"/>
                      <a:pt x="1010547" y="823533"/>
                      <a:pt x="981989" y="803500"/>
                    </a:cubicBezTo>
                    <a:cubicBezTo>
                      <a:pt x="981989" y="803500"/>
                      <a:pt x="981989" y="803500"/>
                      <a:pt x="973421" y="797060"/>
                    </a:cubicBezTo>
                    <a:cubicBezTo>
                      <a:pt x="973421" y="797060"/>
                      <a:pt x="973421" y="797060"/>
                      <a:pt x="973421" y="807793"/>
                    </a:cubicBezTo>
                    <a:cubicBezTo>
                      <a:pt x="973421" y="807793"/>
                      <a:pt x="973421" y="807793"/>
                      <a:pt x="973421" y="845713"/>
                    </a:cubicBezTo>
                    <a:cubicBezTo>
                      <a:pt x="964854" y="839274"/>
                      <a:pt x="958428" y="831404"/>
                      <a:pt x="953430" y="825680"/>
                    </a:cubicBezTo>
                    <a:cubicBezTo>
                      <a:pt x="953430" y="825680"/>
                      <a:pt x="953430" y="825680"/>
                      <a:pt x="953430" y="780604"/>
                    </a:cubicBezTo>
                    <a:cubicBezTo>
                      <a:pt x="953430" y="780604"/>
                      <a:pt x="953430" y="780604"/>
                      <a:pt x="953430" y="778458"/>
                    </a:cubicBezTo>
                    <a:cubicBezTo>
                      <a:pt x="953430" y="778458"/>
                      <a:pt x="953430" y="778458"/>
                      <a:pt x="952002" y="777027"/>
                    </a:cubicBezTo>
                    <a:cubicBezTo>
                      <a:pt x="935581" y="753416"/>
                      <a:pt x="912020" y="690454"/>
                      <a:pt x="902739" y="664697"/>
                    </a:cubicBezTo>
                    <a:cubicBezTo>
                      <a:pt x="902739" y="664697"/>
                      <a:pt x="902739" y="664697"/>
                      <a:pt x="902025" y="663266"/>
                    </a:cubicBezTo>
                    <a:cubicBezTo>
                      <a:pt x="902025" y="663266"/>
                      <a:pt x="902025" y="663266"/>
                      <a:pt x="900597" y="661835"/>
                    </a:cubicBezTo>
                    <a:cubicBezTo>
                      <a:pt x="885603" y="651102"/>
                      <a:pt x="879178" y="635362"/>
                      <a:pt x="877036" y="623914"/>
                    </a:cubicBezTo>
                    <a:close/>
                    <a:moveTo>
                      <a:pt x="296296" y="623914"/>
                    </a:moveTo>
                    <a:cubicBezTo>
                      <a:pt x="296296" y="623914"/>
                      <a:pt x="296296" y="623914"/>
                      <a:pt x="322712" y="636077"/>
                    </a:cubicBezTo>
                    <a:cubicBezTo>
                      <a:pt x="326282" y="641086"/>
                      <a:pt x="329852" y="644663"/>
                      <a:pt x="334850" y="647525"/>
                    </a:cubicBezTo>
                    <a:cubicBezTo>
                      <a:pt x="336992" y="648956"/>
                      <a:pt x="338420" y="650387"/>
                      <a:pt x="339134" y="652533"/>
                    </a:cubicBezTo>
                    <a:cubicBezTo>
                      <a:pt x="353413" y="691885"/>
                      <a:pt x="379116" y="757709"/>
                      <a:pt x="389825" y="768441"/>
                    </a:cubicBezTo>
                    <a:cubicBezTo>
                      <a:pt x="409102" y="787044"/>
                      <a:pt x="452654" y="814947"/>
                      <a:pt x="474073" y="814947"/>
                    </a:cubicBezTo>
                    <a:cubicBezTo>
                      <a:pt x="496206" y="814947"/>
                      <a:pt x="539044" y="787044"/>
                      <a:pt x="558321" y="768441"/>
                    </a:cubicBezTo>
                    <a:cubicBezTo>
                      <a:pt x="569031" y="757709"/>
                      <a:pt x="595447" y="691885"/>
                      <a:pt x="609013" y="652533"/>
                    </a:cubicBezTo>
                    <a:cubicBezTo>
                      <a:pt x="609727" y="650387"/>
                      <a:pt x="611869" y="648956"/>
                      <a:pt x="614011" y="647525"/>
                    </a:cubicBezTo>
                    <a:cubicBezTo>
                      <a:pt x="618294" y="644663"/>
                      <a:pt x="621864" y="641086"/>
                      <a:pt x="625434" y="636793"/>
                    </a:cubicBezTo>
                    <a:cubicBezTo>
                      <a:pt x="625434" y="636793"/>
                      <a:pt x="625434" y="636793"/>
                      <a:pt x="651851" y="623914"/>
                    </a:cubicBezTo>
                    <a:cubicBezTo>
                      <a:pt x="649709" y="634646"/>
                      <a:pt x="643283" y="651102"/>
                      <a:pt x="628290" y="661835"/>
                    </a:cubicBezTo>
                    <a:cubicBezTo>
                      <a:pt x="628290" y="661835"/>
                      <a:pt x="628290" y="661835"/>
                      <a:pt x="626862" y="663266"/>
                    </a:cubicBezTo>
                    <a:cubicBezTo>
                      <a:pt x="626862" y="663266"/>
                      <a:pt x="626862" y="663266"/>
                      <a:pt x="626148" y="664697"/>
                    </a:cubicBezTo>
                    <a:cubicBezTo>
                      <a:pt x="616866" y="690454"/>
                      <a:pt x="593306" y="753416"/>
                      <a:pt x="576884" y="777027"/>
                    </a:cubicBezTo>
                    <a:cubicBezTo>
                      <a:pt x="576884" y="777027"/>
                      <a:pt x="576884" y="777027"/>
                      <a:pt x="576170" y="778458"/>
                    </a:cubicBezTo>
                    <a:cubicBezTo>
                      <a:pt x="576170" y="778458"/>
                      <a:pt x="576170" y="778458"/>
                      <a:pt x="576170" y="779889"/>
                    </a:cubicBezTo>
                    <a:cubicBezTo>
                      <a:pt x="576170" y="779889"/>
                      <a:pt x="576170" y="779889"/>
                      <a:pt x="576170" y="820671"/>
                    </a:cubicBezTo>
                    <a:lnTo>
                      <a:pt x="571173" y="827111"/>
                    </a:lnTo>
                    <a:cubicBezTo>
                      <a:pt x="567603" y="832834"/>
                      <a:pt x="562605" y="839274"/>
                      <a:pt x="556179" y="845713"/>
                    </a:cubicBezTo>
                    <a:cubicBezTo>
                      <a:pt x="556179" y="845713"/>
                      <a:pt x="556179" y="845713"/>
                      <a:pt x="556179" y="807793"/>
                    </a:cubicBezTo>
                    <a:cubicBezTo>
                      <a:pt x="556179" y="807793"/>
                      <a:pt x="556179" y="807793"/>
                      <a:pt x="556179" y="797060"/>
                    </a:cubicBezTo>
                    <a:cubicBezTo>
                      <a:pt x="556179" y="797060"/>
                      <a:pt x="556179" y="797060"/>
                      <a:pt x="546898" y="802784"/>
                    </a:cubicBezTo>
                    <a:cubicBezTo>
                      <a:pt x="518339" y="823533"/>
                      <a:pt x="491922" y="834981"/>
                      <a:pt x="474073" y="834981"/>
                    </a:cubicBezTo>
                    <a:cubicBezTo>
                      <a:pt x="456224" y="834981"/>
                      <a:pt x="429807" y="823533"/>
                      <a:pt x="401963" y="803500"/>
                    </a:cubicBezTo>
                    <a:cubicBezTo>
                      <a:pt x="401963" y="803500"/>
                      <a:pt x="401963" y="803500"/>
                      <a:pt x="392681" y="797060"/>
                    </a:cubicBezTo>
                    <a:cubicBezTo>
                      <a:pt x="392681" y="797060"/>
                      <a:pt x="392681" y="797060"/>
                      <a:pt x="392681" y="807793"/>
                    </a:cubicBezTo>
                    <a:cubicBezTo>
                      <a:pt x="392681" y="807793"/>
                      <a:pt x="392681" y="807793"/>
                      <a:pt x="392681" y="845713"/>
                    </a:cubicBezTo>
                    <a:cubicBezTo>
                      <a:pt x="384114" y="839274"/>
                      <a:pt x="377688" y="831404"/>
                      <a:pt x="372690" y="825680"/>
                    </a:cubicBezTo>
                    <a:cubicBezTo>
                      <a:pt x="372690" y="825680"/>
                      <a:pt x="372690" y="825680"/>
                      <a:pt x="372690" y="780604"/>
                    </a:cubicBezTo>
                    <a:cubicBezTo>
                      <a:pt x="372690" y="780604"/>
                      <a:pt x="372690" y="780604"/>
                      <a:pt x="372690" y="778458"/>
                    </a:cubicBezTo>
                    <a:cubicBezTo>
                      <a:pt x="372690" y="778458"/>
                      <a:pt x="372690" y="778458"/>
                      <a:pt x="371976" y="777027"/>
                    </a:cubicBezTo>
                    <a:cubicBezTo>
                      <a:pt x="355555" y="753416"/>
                      <a:pt x="331994" y="690454"/>
                      <a:pt x="321999" y="664697"/>
                    </a:cubicBezTo>
                    <a:cubicBezTo>
                      <a:pt x="321999" y="664697"/>
                      <a:pt x="321999" y="664697"/>
                      <a:pt x="321999" y="663266"/>
                    </a:cubicBezTo>
                    <a:cubicBezTo>
                      <a:pt x="321999" y="663266"/>
                      <a:pt x="321999" y="663266"/>
                      <a:pt x="319857" y="661835"/>
                    </a:cubicBezTo>
                    <a:cubicBezTo>
                      <a:pt x="304863" y="651102"/>
                      <a:pt x="299152" y="635362"/>
                      <a:pt x="296296" y="623914"/>
                    </a:cubicBezTo>
                    <a:close/>
                    <a:moveTo>
                      <a:pt x="1228184" y="256508"/>
                    </a:moveTo>
                    <a:cubicBezTo>
                      <a:pt x="1228184" y="256508"/>
                      <a:pt x="1346156" y="257936"/>
                      <a:pt x="1409789" y="287204"/>
                    </a:cubicBezTo>
                    <a:cubicBezTo>
                      <a:pt x="1431238" y="297197"/>
                      <a:pt x="1449827" y="317185"/>
                      <a:pt x="1465557" y="340742"/>
                    </a:cubicBezTo>
                    <a:cubicBezTo>
                      <a:pt x="1499876" y="392139"/>
                      <a:pt x="1517035" y="452816"/>
                      <a:pt x="1517035" y="514920"/>
                    </a:cubicBezTo>
                    <a:cubicBezTo>
                      <a:pt x="1517035" y="514920"/>
                      <a:pt x="1517035" y="514920"/>
                      <a:pt x="1517035" y="973924"/>
                    </a:cubicBezTo>
                    <a:cubicBezTo>
                      <a:pt x="1517035" y="982490"/>
                      <a:pt x="1509885" y="989628"/>
                      <a:pt x="1501306" y="989628"/>
                    </a:cubicBezTo>
                    <a:cubicBezTo>
                      <a:pt x="1501306" y="989628"/>
                      <a:pt x="1501306" y="989628"/>
                      <a:pt x="1390484" y="989628"/>
                    </a:cubicBezTo>
                    <a:cubicBezTo>
                      <a:pt x="1391914" y="985345"/>
                      <a:pt x="1391914" y="981062"/>
                      <a:pt x="1391199" y="976065"/>
                    </a:cubicBezTo>
                    <a:cubicBezTo>
                      <a:pt x="1391199" y="976065"/>
                      <a:pt x="1391199" y="976065"/>
                      <a:pt x="1391199" y="973210"/>
                    </a:cubicBezTo>
                    <a:cubicBezTo>
                      <a:pt x="1375470" y="853997"/>
                      <a:pt x="1231044" y="824730"/>
                      <a:pt x="1193150" y="818305"/>
                    </a:cubicBezTo>
                    <a:cubicBezTo>
                      <a:pt x="1193150" y="818305"/>
                      <a:pt x="1193150" y="818305"/>
                      <a:pt x="1193150" y="789037"/>
                    </a:cubicBezTo>
                    <a:cubicBezTo>
                      <a:pt x="1203160" y="772619"/>
                      <a:pt x="1217460" y="742637"/>
                      <a:pt x="1238194" y="685530"/>
                    </a:cubicBezTo>
                    <a:cubicBezTo>
                      <a:pt x="1255353" y="669825"/>
                      <a:pt x="1266793" y="647696"/>
                      <a:pt x="1270368" y="621997"/>
                    </a:cubicBezTo>
                    <a:cubicBezTo>
                      <a:pt x="1271798" y="614145"/>
                      <a:pt x="1266078" y="607007"/>
                      <a:pt x="1258213" y="604865"/>
                    </a:cubicBezTo>
                    <a:cubicBezTo>
                      <a:pt x="1258213" y="604865"/>
                      <a:pt x="1258213" y="604865"/>
                      <a:pt x="1262503" y="594157"/>
                    </a:cubicBezTo>
                    <a:cubicBezTo>
                      <a:pt x="1271798" y="570600"/>
                      <a:pt x="1271798" y="546330"/>
                      <a:pt x="1271798" y="524200"/>
                    </a:cubicBezTo>
                    <a:cubicBezTo>
                      <a:pt x="1271798" y="435684"/>
                      <a:pt x="1216030" y="362871"/>
                      <a:pt x="1135237" y="332890"/>
                    </a:cubicBezTo>
                    <a:cubicBezTo>
                      <a:pt x="1183141" y="294342"/>
                      <a:pt x="1228184" y="256508"/>
                      <a:pt x="1228184" y="256508"/>
                    </a:cubicBezTo>
                    <a:close/>
                    <a:moveTo>
                      <a:pt x="954690" y="256508"/>
                    </a:moveTo>
                    <a:cubicBezTo>
                      <a:pt x="954690" y="256508"/>
                      <a:pt x="992543" y="287937"/>
                      <a:pt x="1031110" y="319365"/>
                    </a:cubicBezTo>
                    <a:cubicBezTo>
                      <a:pt x="961118" y="326508"/>
                      <a:pt x="901838" y="362937"/>
                      <a:pt x="868271" y="416508"/>
                    </a:cubicBezTo>
                    <a:cubicBezTo>
                      <a:pt x="858272" y="383651"/>
                      <a:pt x="843988" y="352222"/>
                      <a:pt x="824704" y="323651"/>
                    </a:cubicBezTo>
                    <a:cubicBezTo>
                      <a:pt x="813277" y="306508"/>
                      <a:pt x="801849" y="292222"/>
                      <a:pt x="788994" y="280794"/>
                    </a:cubicBezTo>
                    <a:cubicBezTo>
                      <a:pt x="854701" y="257937"/>
                      <a:pt x="954690" y="256508"/>
                      <a:pt x="954690" y="256508"/>
                    </a:cubicBezTo>
                    <a:close/>
                    <a:moveTo>
                      <a:pt x="561890" y="256508"/>
                    </a:moveTo>
                    <a:cubicBezTo>
                      <a:pt x="561890" y="256508"/>
                      <a:pt x="679907" y="257938"/>
                      <a:pt x="744279" y="287258"/>
                    </a:cubicBezTo>
                    <a:cubicBezTo>
                      <a:pt x="765021" y="297269"/>
                      <a:pt x="783618" y="317292"/>
                      <a:pt x="799353" y="340891"/>
                    </a:cubicBezTo>
                    <a:cubicBezTo>
                      <a:pt x="823672" y="378076"/>
                      <a:pt x="840123" y="420267"/>
                      <a:pt x="846560" y="463889"/>
                    </a:cubicBezTo>
                    <a:cubicBezTo>
                      <a:pt x="844414" y="471040"/>
                      <a:pt x="842984" y="478906"/>
                      <a:pt x="840838" y="486772"/>
                    </a:cubicBezTo>
                    <a:cubicBezTo>
                      <a:pt x="812943" y="451732"/>
                      <a:pt x="755723" y="430994"/>
                      <a:pt x="678476" y="429564"/>
                    </a:cubicBezTo>
                    <a:cubicBezTo>
                      <a:pt x="678476" y="429564"/>
                      <a:pt x="678476" y="429564"/>
                      <a:pt x="677761" y="429564"/>
                    </a:cubicBezTo>
                    <a:cubicBezTo>
                      <a:pt x="674900" y="429564"/>
                      <a:pt x="672039" y="430279"/>
                      <a:pt x="669178" y="430994"/>
                    </a:cubicBezTo>
                    <a:cubicBezTo>
                      <a:pt x="659164" y="411686"/>
                      <a:pt x="645575" y="393808"/>
                      <a:pt x="629124" y="378791"/>
                    </a:cubicBezTo>
                    <a:cubicBezTo>
                      <a:pt x="588355" y="340175"/>
                      <a:pt x="533280" y="318722"/>
                      <a:pt x="474630" y="318722"/>
                    </a:cubicBezTo>
                    <a:cubicBezTo>
                      <a:pt x="467477" y="318722"/>
                      <a:pt x="461040" y="318722"/>
                      <a:pt x="454603" y="319437"/>
                    </a:cubicBezTo>
                    <a:cubicBezTo>
                      <a:pt x="526128" y="307281"/>
                      <a:pt x="561890" y="256508"/>
                      <a:pt x="561890" y="256508"/>
                    </a:cubicBezTo>
                    <a:close/>
                    <a:moveTo>
                      <a:pt x="288361" y="256508"/>
                    </a:moveTo>
                    <a:cubicBezTo>
                      <a:pt x="288361" y="256508"/>
                      <a:pt x="334042" y="320754"/>
                      <a:pt x="425405" y="322182"/>
                    </a:cubicBezTo>
                    <a:cubicBezTo>
                      <a:pt x="428973" y="322182"/>
                      <a:pt x="433256" y="321468"/>
                      <a:pt x="436825" y="321468"/>
                    </a:cubicBezTo>
                    <a:cubicBezTo>
                      <a:pt x="392571" y="328607"/>
                      <a:pt x="351887" y="347880"/>
                      <a:pt x="319767" y="378576"/>
                    </a:cubicBezTo>
                    <a:cubicBezTo>
                      <a:pt x="303350" y="393567"/>
                      <a:pt x="289789" y="411413"/>
                      <a:pt x="279796" y="430687"/>
                    </a:cubicBezTo>
                    <a:cubicBezTo>
                      <a:pt x="276941" y="429973"/>
                      <a:pt x="274086" y="429259"/>
                      <a:pt x="270517" y="429259"/>
                    </a:cubicBezTo>
                    <a:cubicBezTo>
                      <a:pt x="158456" y="430687"/>
                      <a:pt x="88507" y="474231"/>
                      <a:pt x="88507" y="542047"/>
                    </a:cubicBezTo>
                    <a:cubicBezTo>
                      <a:pt x="88507" y="571314"/>
                      <a:pt x="94931" y="588447"/>
                      <a:pt x="100641" y="604151"/>
                    </a:cubicBezTo>
                    <a:cubicBezTo>
                      <a:pt x="107778" y="623425"/>
                      <a:pt x="116344" y="644840"/>
                      <a:pt x="116344" y="701948"/>
                    </a:cubicBezTo>
                    <a:cubicBezTo>
                      <a:pt x="116344" y="721222"/>
                      <a:pt x="132047" y="736927"/>
                      <a:pt x="151318" y="736927"/>
                    </a:cubicBezTo>
                    <a:cubicBezTo>
                      <a:pt x="151318" y="736927"/>
                      <a:pt x="151318" y="736927"/>
                      <a:pt x="152746" y="736927"/>
                    </a:cubicBezTo>
                    <a:cubicBezTo>
                      <a:pt x="152746" y="736927"/>
                      <a:pt x="152746" y="736927"/>
                      <a:pt x="153460" y="736927"/>
                    </a:cubicBezTo>
                    <a:cubicBezTo>
                      <a:pt x="189862" y="734785"/>
                      <a:pt x="250532" y="713370"/>
                      <a:pt x="278369" y="671967"/>
                    </a:cubicBezTo>
                    <a:cubicBezTo>
                      <a:pt x="281937" y="676964"/>
                      <a:pt x="285506" y="681247"/>
                      <a:pt x="290503" y="685530"/>
                    </a:cubicBezTo>
                    <a:cubicBezTo>
                      <a:pt x="311202" y="742637"/>
                      <a:pt x="325477" y="772619"/>
                      <a:pt x="335470" y="789037"/>
                    </a:cubicBezTo>
                    <a:cubicBezTo>
                      <a:pt x="335470" y="789037"/>
                      <a:pt x="335470" y="789037"/>
                      <a:pt x="335470" y="817591"/>
                    </a:cubicBezTo>
                    <a:cubicBezTo>
                      <a:pt x="319767" y="818305"/>
                      <a:pt x="284079" y="822588"/>
                      <a:pt x="246963" y="836865"/>
                    </a:cubicBezTo>
                    <a:cubicBezTo>
                      <a:pt x="182724" y="861850"/>
                      <a:pt x="145608" y="906108"/>
                      <a:pt x="139184" y="965357"/>
                    </a:cubicBezTo>
                    <a:cubicBezTo>
                      <a:pt x="138470" y="968927"/>
                      <a:pt x="138470" y="972496"/>
                      <a:pt x="137757" y="976065"/>
                    </a:cubicBezTo>
                    <a:cubicBezTo>
                      <a:pt x="137043" y="981062"/>
                      <a:pt x="137757" y="985345"/>
                      <a:pt x="138470" y="989628"/>
                    </a:cubicBezTo>
                    <a:cubicBezTo>
                      <a:pt x="138470" y="989628"/>
                      <a:pt x="138470" y="989628"/>
                      <a:pt x="15703" y="989628"/>
                    </a:cubicBezTo>
                    <a:cubicBezTo>
                      <a:pt x="7137" y="989628"/>
                      <a:pt x="0" y="982490"/>
                      <a:pt x="0" y="973924"/>
                    </a:cubicBezTo>
                    <a:cubicBezTo>
                      <a:pt x="0" y="973924"/>
                      <a:pt x="0" y="973924"/>
                      <a:pt x="0" y="514920"/>
                    </a:cubicBezTo>
                    <a:cubicBezTo>
                      <a:pt x="0" y="452816"/>
                      <a:pt x="17130" y="392139"/>
                      <a:pt x="51391" y="340742"/>
                    </a:cubicBezTo>
                    <a:cubicBezTo>
                      <a:pt x="67094" y="317185"/>
                      <a:pt x="85652" y="297197"/>
                      <a:pt x="107065" y="287204"/>
                    </a:cubicBezTo>
                    <a:cubicBezTo>
                      <a:pt x="170590" y="257936"/>
                      <a:pt x="288361" y="256508"/>
                      <a:pt x="288361" y="256508"/>
                    </a:cubicBezTo>
                    <a:close/>
                    <a:moveTo>
                      <a:pt x="870263" y="0"/>
                    </a:moveTo>
                    <a:cubicBezTo>
                      <a:pt x="870263" y="0"/>
                      <a:pt x="870263" y="0"/>
                      <a:pt x="896642" y="12152"/>
                    </a:cubicBezTo>
                    <a:cubicBezTo>
                      <a:pt x="900920" y="19300"/>
                      <a:pt x="906624" y="24304"/>
                      <a:pt x="913754" y="27878"/>
                    </a:cubicBezTo>
                    <a:cubicBezTo>
                      <a:pt x="915892" y="29307"/>
                      <a:pt x="917318" y="30737"/>
                      <a:pt x="918744" y="32882"/>
                    </a:cubicBezTo>
                    <a:cubicBezTo>
                      <a:pt x="937281" y="81489"/>
                      <a:pt x="972217" y="162978"/>
                      <a:pt x="985763" y="175130"/>
                    </a:cubicBezTo>
                    <a:cubicBezTo>
                      <a:pt x="1006439" y="193001"/>
                      <a:pt x="1061337" y="228027"/>
                      <a:pt x="1091282" y="228027"/>
                    </a:cubicBezTo>
                    <a:cubicBezTo>
                      <a:pt x="1121939" y="228027"/>
                      <a:pt x="1176838" y="193001"/>
                      <a:pt x="1197514" y="175130"/>
                    </a:cubicBezTo>
                    <a:cubicBezTo>
                      <a:pt x="1211060" y="162978"/>
                      <a:pt x="1245996" y="81489"/>
                      <a:pt x="1264533" y="32882"/>
                    </a:cubicBezTo>
                    <a:cubicBezTo>
                      <a:pt x="1265246" y="30737"/>
                      <a:pt x="1267385" y="29307"/>
                      <a:pt x="1269523" y="27878"/>
                    </a:cubicBezTo>
                    <a:cubicBezTo>
                      <a:pt x="1276653" y="24304"/>
                      <a:pt x="1281644" y="19300"/>
                      <a:pt x="1286635" y="12152"/>
                    </a:cubicBezTo>
                    <a:cubicBezTo>
                      <a:pt x="1286635" y="12152"/>
                      <a:pt x="1286635" y="12152"/>
                      <a:pt x="1313014" y="0"/>
                    </a:cubicBezTo>
                    <a:cubicBezTo>
                      <a:pt x="1310162" y="12152"/>
                      <a:pt x="1302320" y="30737"/>
                      <a:pt x="1283783" y="42889"/>
                    </a:cubicBezTo>
                    <a:cubicBezTo>
                      <a:pt x="1283783" y="42889"/>
                      <a:pt x="1283783" y="42889"/>
                      <a:pt x="1281644" y="43604"/>
                    </a:cubicBezTo>
                    <a:cubicBezTo>
                      <a:pt x="1281644" y="43604"/>
                      <a:pt x="1281644" y="43604"/>
                      <a:pt x="1280931" y="45748"/>
                    </a:cubicBezTo>
                    <a:cubicBezTo>
                      <a:pt x="1250273" y="123663"/>
                      <a:pt x="1223894" y="177990"/>
                      <a:pt x="1210347" y="190142"/>
                    </a:cubicBezTo>
                    <a:cubicBezTo>
                      <a:pt x="1208921" y="190856"/>
                      <a:pt x="1207495" y="192286"/>
                      <a:pt x="1205357" y="193716"/>
                    </a:cubicBezTo>
                    <a:cubicBezTo>
                      <a:pt x="1205357" y="193716"/>
                      <a:pt x="1205357" y="193716"/>
                      <a:pt x="1203218" y="195860"/>
                    </a:cubicBezTo>
                    <a:cubicBezTo>
                      <a:pt x="1203218" y="195860"/>
                      <a:pt x="1203218" y="195860"/>
                      <a:pt x="1203218" y="198719"/>
                    </a:cubicBezTo>
                    <a:cubicBezTo>
                      <a:pt x="1203218" y="198719"/>
                      <a:pt x="1203218" y="198719"/>
                      <a:pt x="1203218" y="228742"/>
                    </a:cubicBezTo>
                    <a:cubicBezTo>
                      <a:pt x="1201079" y="230886"/>
                      <a:pt x="1193236" y="237320"/>
                      <a:pt x="1183255" y="245183"/>
                    </a:cubicBezTo>
                    <a:cubicBezTo>
                      <a:pt x="1183255" y="245183"/>
                      <a:pt x="1183255" y="245183"/>
                      <a:pt x="1183255" y="220879"/>
                    </a:cubicBezTo>
                    <a:cubicBezTo>
                      <a:pt x="1183255" y="220879"/>
                      <a:pt x="1183255" y="220879"/>
                      <a:pt x="1183255" y="210156"/>
                    </a:cubicBezTo>
                    <a:cubicBezTo>
                      <a:pt x="1183255" y="210156"/>
                      <a:pt x="1183255" y="210156"/>
                      <a:pt x="1174699" y="215875"/>
                    </a:cubicBezTo>
                    <a:cubicBezTo>
                      <a:pt x="1155449" y="228027"/>
                      <a:pt x="1119087" y="248042"/>
                      <a:pt x="1091282" y="248042"/>
                    </a:cubicBezTo>
                    <a:cubicBezTo>
                      <a:pt x="1063476" y="248042"/>
                      <a:pt x="1027115" y="228027"/>
                      <a:pt x="1008578" y="215875"/>
                    </a:cubicBezTo>
                    <a:cubicBezTo>
                      <a:pt x="1008578" y="215875"/>
                      <a:pt x="1008578" y="215875"/>
                      <a:pt x="999309" y="210156"/>
                    </a:cubicBezTo>
                    <a:cubicBezTo>
                      <a:pt x="999309" y="210156"/>
                      <a:pt x="999309" y="210156"/>
                      <a:pt x="999309" y="220164"/>
                    </a:cubicBezTo>
                    <a:cubicBezTo>
                      <a:pt x="999309" y="220164"/>
                      <a:pt x="999309" y="220164"/>
                      <a:pt x="999309" y="245183"/>
                    </a:cubicBezTo>
                    <a:cubicBezTo>
                      <a:pt x="989328" y="237320"/>
                      <a:pt x="982198" y="230886"/>
                      <a:pt x="979346" y="228742"/>
                    </a:cubicBezTo>
                    <a:cubicBezTo>
                      <a:pt x="979346" y="228742"/>
                      <a:pt x="979346" y="228742"/>
                      <a:pt x="979346" y="198005"/>
                    </a:cubicBezTo>
                    <a:cubicBezTo>
                      <a:pt x="979346" y="198005"/>
                      <a:pt x="979346" y="198005"/>
                      <a:pt x="979346" y="195860"/>
                    </a:cubicBezTo>
                    <a:cubicBezTo>
                      <a:pt x="979346" y="195860"/>
                      <a:pt x="979346" y="195860"/>
                      <a:pt x="977207" y="193716"/>
                    </a:cubicBezTo>
                    <a:cubicBezTo>
                      <a:pt x="975782" y="192286"/>
                      <a:pt x="973643" y="190856"/>
                      <a:pt x="972930" y="190142"/>
                    </a:cubicBezTo>
                    <a:cubicBezTo>
                      <a:pt x="959383" y="177990"/>
                      <a:pt x="933004" y="123663"/>
                      <a:pt x="901633" y="45748"/>
                    </a:cubicBezTo>
                    <a:cubicBezTo>
                      <a:pt x="901633" y="45748"/>
                      <a:pt x="901633" y="45748"/>
                      <a:pt x="901633" y="43604"/>
                    </a:cubicBezTo>
                    <a:cubicBezTo>
                      <a:pt x="901633" y="43604"/>
                      <a:pt x="901633" y="43604"/>
                      <a:pt x="899494" y="42889"/>
                    </a:cubicBezTo>
                    <a:cubicBezTo>
                      <a:pt x="880957" y="31452"/>
                      <a:pt x="873115" y="12867"/>
                      <a:pt x="870263" y="0"/>
                    </a:cubicBezTo>
                    <a:close/>
                    <a:moveTo>
                      <a:pt x="203174" y="0"/>
                    </a:moveTo>
                    <a:cubicBezTo>
                      <a:pt x="203174" y="0"/>
                      <a:pt x="203174" y="0"/>
                      <a:pt x="229604" y="12130"/>
                    </a:cubicBezTo>
                    <a:cubicBezTo>
                      <a:pt x="233890" y="19265"/>
                      <a:pt x="239604" y="24260"/>
                      <a:pt x="246748" y="27827"/>
                    </a:cubicBezTo>
                    <a:cubicBezTo>
                      <a:pt x="248891" y="29255"/>
                      <a:pt x="250319" y="30682"/>
                      <a:pt x="251748" y="32822"/>
                    </a:cubicBezTo>
                    <a:cubicBezTo>
                      <a:pt x="270320" y="81342"/>
                      <a:pt x="305322" y="162684"/>
                      <a:pt x="318895" y="174814"/>
                    </a:cubicBezTo>
                    <a:cubicBezTo>
                      <a:pt x="339610" y="192653"/>
                      <a:pt x="394613" y="227615"/>
                      <a:pt x="424615" y="227615"/>
                    </a:cubicBezTo>
                    <a:cubicBezTo>
                      <a:pt x="455331" y="227615"/>
                      <a:pt x="510334" y="192653"/>
                      <a:pt x="531050" y="174814"/>
                    </a:cubicBezTo>
                    <a:cubicBezTo>
                      <a:pt x="544622" y="162684"/>
                      <a:pt x="579624" y="81342"/>
                      <a:pt x="598197" y="32822"/>
                    </a:cubicBezTo>
                    <a:cubicBezTo>
                      <a:pt x="598911" y="30682"/>
                      <a:pt x="601054" y="29255"/>
                      <a:pt x="603197" y="27827"/>
                    </a:cubicBezTo>
                    <a:cubicBezTo>
                      <a:pt x="609626" y="24260"/>
                      <a:pt x="615340" y="19265"/>
                      <a:pt x="619626" y="12843"/>
                    </a:cubicBezTo>
                    <a:cubicBezTo>
                      <a:pt x="619626" y="12843"/>
                      <a:pt x="619626" y="12843"/>
                      <a:pt x="646771" y="0"/>
                    </a:cubicBezTo>
                    <a:cubicBezTo>
                      <a:pt x="643913" y="12130"/>
                      <a:pt x="636056" y="30682"/>
                      <a:pt x="617483" y="42812"/>
                    </a:cubicBezTo>
                    <a:cubicBezTo>
                      <a:pt x="617483" y="42812"/>
                      <a:pt x="617483" y="42812"/>
                      <a:pt x="615340" y="43525"/>
                    </a:cubicBezTo>
                    <a:cubicBezTo>
                      <a:pt x="615340" y="43525"/>
                      <a:pt x="615340" y="43525"/>
                      <a:pt x="614626" y="45666"/>
                    </a:cubicBezTo>
                    <a:cubicBezTo>
                      <a:pt x="583910" y="123440"/>
                      <a:pt x="557480" y="177668"/>
                      <a:pt x="543908" y="189798"/>
                    </a:cubicBezTo>
                    <a:cubicBezTo>
                      <a:pt x="543193" y="190512"/>
                      <a:pt x="541050" y="191939"/>
                      <a:pt x="539622" y="193366"/>
                    </a:cubicBezTo>
                    <a:cubicBezTo>
                      <a:pt x="539622" y="193366"/>
                      <a:pt x="539622" y="193366"/>
                      <a:pt x="537479" y="195507"/>
                    </a:cubicBezTo>
                    <a:cubicBezTo>
                      <a:pt x="537479" y="195507"/>
                      <a:pt x="537479" y="195507"/>
                      <a:pt x="537479" y="197647"/>
                    </a:cubicBezTo>
                    <a:cubicBezTo>
                      <a:pt x="537479" y="197647"/>
                      <a:pt x="537479" y="197647"/>
                      <a:pt x="537479" y="226902"/>
                    </a:cubicBezTo>
                    <a:lnTo>
                      <a:pt x="531764" y="234751"/>
                    </a:lnTo>
                    <a:cubicBezTo>
                      <a:pt x="531764" y="234751"/>
                      <a:pt x="526764" y="241173"/>
                      <a:pt x="517478" y="249735"/>
                    </a:cubicBezTo>
                    <a:cubicBezTo>
                      <a:pt x="517478" y="249735"/>
                      <a:pt x="517478" y="249735"/>
                      <a:pt x="517478" y="219767"/>
                    </a:cubicBezTo>
                    <a:cubicBezTo>
                      <a:pt x="517478" y="219767"/>
                      <a:pt x="517478" y="219767"/>
                      <a:pt x="517478" y="209777"/>
                    </a:cubicBezTo>
                    <a:cubicBezTo>
                      <a:pt x="517478" y="209777"/>
                      <a:pt x="517478" y="209777"/>
                      <a:pt x="508191" y="215485"/>
                    </a:cubicBezTo>
                    <a:cubicBezTo>
                      <a:pt x="488905" y="227615"/>
                      <a:pt x="452474" y="247594"/>
                      <a:pt x="424615" y="247594"/>
                    </a:cubicBezTo>
                    <a:cubicBezTo>
                      <a:pt x="397471" y="247594"/>
                      <a:pt x="361040" y="227615"/>
                      <a:pt x="341753" y="215485"/>
                    </a:cubicBezTo>
                    <a:cubicBezTo>
                      <a:pt x="341753" y="215485"/>
                      <a:pt x="341753" y="215485"/>
                      <a:pt x="333181" y="209777"/>
                    </a:cubicBezTo>
                    <a:cubicBezTo>
                      <a:pt x="333181" y="209777"/>
                      <a:pt x="333181" y="209777"/>
                      <a:pt x="333181" y="220480"/>
                    </a:cubicBezTo>
                    <a:cubicBezTo>
                      <a:pt x="333181" y="220480"/>
                      <a:pt x="333181" y="220480"/>
                      <a:pt x="333181" y="249735"/>
                    </a:cubicBezTo>
                    <a:cubicBezTo>
                      <a:pt x="323181" y="241173"/>
                      <a:pt x="318180" y="234751"/>
                      <a:pt x="318180" y="234751"/>
                    </a:cubicBezTo>
                    <a:cubicBezTo>
                      <a:pt x="318180" y="234751"/>
                      <a:pt x="318180" y="234751"/>
                      <a:pt x="313180" y="226902"/>
                    </a:cubicBezTo>
                    <a:cubicBezTo>
                      <a:pt x="313180" y="226902"/>
                      <a:pt x="313180" y="226902"/>
                      <a:pt x="313180" y="198361"/>
                    </a:cubicBezTo>
                    <a:cubicBezTo>
                      <a:pt x="313180" y="198361"/>
                      <a:pt x="313180" y="198361"/>
                      <a:pt x="313180" y="195507"/>
                    </a:cubicBezTo>
                    <a:cubicBezTo>
                      <a:pt x="313180" y="195507"/>
                      <a:pt x="313180" y="195507"/>
                      <a:pt x="311037" y="193366"/>
                    </a:cubicBezTo>
                    <a:cubicBezTo>
                      <a:pt x="308894" y="191939"/>
                      <a:pt x="306751" y="190512"/>
                      <a:pt x="306037" y="189798"/>
                    </a:cubicBezTo>
                    <a:cubicBezTo>
                      <a:pt x="292465" y="177668"/>
                      <a:pt x="266035" y="123440"/>
                      <a:pt x="235318" y="45666"/>
                    </a:cubicBezTo>
                    <a:cubicBezTo>
                      <a:pt x="235318" y="45666"/>
                      <a:pt x="235318" y="45666"/>
                      <a:pt x="234604" y="43525"/>
                    </a:cubicBezTo>
                    <a:cubicBezTo>
                      <a:pt x="234604" y="43525"/>
                      <a:pt x="234604" y="43525"/>
                      <a:pt x="232461" y="42812"/>
                    </a:cubicBezTo>
                    <a:cubicBezTo>
                      <a:pt x="213889" y="31395"/>
                      <a:pt x="206031" y="12843"/>
                      <a:pt x="203174" y="0"/>
                    </a:cubicBezTo>
                    <a:close/>
                  </a:path>
                </a:pathLst>
              </a:custGeom>
              <a:solidFill>
                <a:srgbClr val="2F1C4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7" name="Title 2">
            <a:extLst>
              <a:ext uri="{FF2B5EF4-FFF2-40B4-BE49-F238E27FC236}">
                <a16:creationId xmlns:a16="http://schemas.microsoft.com/office/drawing/2014/main" id="{202C4AFC-3593-46A3-85D1-4D3F4C584F6A}"/>
              </a:ext>
            </a:extLst>
          </p:cNvPr>
          <p:cNvSpPr>
            <a:spLocks noGrp="1"/>
          </p:cNvSpPr>
          <p:nvPr>
            <p:ph type="title"/>
          </p:nvPr>
        </p:nvSpPr>
        <p:spPr>
          <a:xfrm>
            <a:off x="613222" y="1921079"/>
            <a:ext cx="2856760" cy="2853721"/>
          </a:xfrm>
        </p:spPr>
        <p:txBody>
          <a:bodyPr vert="horz"/>
          <a:lstStyle/>
          <a:p>
            <a:r>
              <a:rPr lang="en-US" dirty="0">
                <a:solidFill>
                  <a:schemeClr val="bg1"/>
                </a:solidFill>
              </a:rPr>
              <a:t>Master Plan’s Bold Agenda </a:t>
            </a:r>
          </a:p>
        </p:txBody>
      </p:sp>
    </p:spTree>
    <p:custDataLst>
      <p:tags r:id="rId1"/>
    </p:custDataLst>
    <p:extLst>
      <p:ext uri="{BB962C8B-B14F-4D97-AF65-F5344CB8AC3E}">
        <p14:creationId xmlns:p14="http://schemas.microsoft.com/office/powerpoint/2010/main" val="4040537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915C3C-6A90-469B-A713-AA272162E64A}"/>
              </a:ext>
            </a:extLst>
          </p:cNvPr>
          <p:cNvGraphicFramePr>
            <a:graphicFrameLocks noChangeAspect="1"/>
          </p:cNvGraphicFramePr>
          <p:nvPr>
            <p:custDataLst>
              <p:tags r:id="rId1"/>
            </p:custDataLst>
            <p:extLst>
              <p:ext uri="{D42A27DB-BD31-4B8C-83A1-F6EECF244321}">
                <p14:modId xmlns:p14="http://schemas.microsoft.com/office/powerpoint/2010/main" val="3204102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87915C3C-6A90-469B-A713-AA272162E6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366318" y="2416200"/>
            <a:ext cx="3100781" cy="1870050"/>
          </a:xfrm>
        </p:spPr>
        <p:txBody>
          <a:bodyPr vert="horz"/>
          <a:lstStyle/>
          <a:p>
            <a:r>
              <a:rPr lang="en-US" dirty="0">
                <a:solidFill>
                  <a:schemeClr val="bg1"/>
                </a:solidFill>
              </a:rPr>
              <a:t>Lay the foundation for change to the aging landscape for the long haul </a:t>
            </a:r>
          </a:p>
        </p:txBody>
      </p:sp>
      <p:sp>
        <p:nvSpPr>
          <p:cNvPr id="10" name="TextBox 9">
            <a:extLst>
              <a:ext uri="{FF2B5EF4-FFF2-40B4-BE49-F238E27FC236}">
                <a16:creationId xmlns:a16="http://schemas.microsoft.com/office/drawing/2014/main" id="{5BED438F-D1DB-436B-B4E9-D9AD851E9466}"/>
              </a:ext>
            </a:extLst>
          </p:cNvPr>
          <p:cNvSpPr txBox="1"/>
          <p:nvPr/>
        </p:nvSpPr>
        <p:spPr>
          <a:xfrm>
            <a:off x="4262486" y="1085453"/>
            <a:ext cx="3942359" cy="46870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indent="-285750">
              <a:spcBef>
                <a:spcPts val="1200"/>
              </a:spcBef>
              <a:spcAft>
                <a:spcPts val="600"/>
              </a:spcAft>
              <a:buFont typeface="Arial" panose="020B0604020202020204" pitchFamily="34" charset="0"/>
              <a:buChar char="•"/>
            </a:pPr>
            <a:r>
              <a:rPr lang="en-US" sz="2000" dirty="0">
                <a:solidFill>
                  <a:srgbClr val="101820"/>
                </a:solidFill>
                <a:cs typeface="Arial" panose="020B0604020202020204" pitchFamily="34" charset="0"/>
              </a:rPr>
              <a:t>Integrated and age friendly community health systems</a:t>
            </a:r>
          </a:p>
          <a:p>
            <a:pPr marL="285750" indent="-285750">
              <a:spcBef>
                <a:spcPts val="1200"/>
              </a:spcBef>
              <a:spcAft>
                <a:spcPts val="600"/>
              </a:spcAft>
              <a:buFont typeface="Arial" panose="020B0604020202020204" pitchFamily="34" charset="0"/>
              <a:buChar char="•"/>
            </a:pPr>
            <a:r>
              <a:rPr lang="en-US" sz="2000" dirty="0">
                <a:solidFill>
                  <a:srgbClr val="101820"/>
                </a:solidFill>
                <a:cs typeface="Arial" panose="020B0604020202020204" pitchFamily="34" charset="0"/>
              </a:rPr>
              <a:t>Seamless system of care across settings</a:t>
            </a:r>
          </a:p>
          <a:p>
            <a:pPr marL="285750" indent="-285750">
              <a:spcBef>
                <a:spcPts val="1200"/>
              </a:spcBef>
              <a:spcAft>
                <a:spcPts val="600"/>
              </a:spcAft>
              <a:buFont typeface="Arial" panose="020B0604020202020204" pitchFamily="34" charset="0"/>
              <a:buChar char="•"/>
            </a:pPr>
            <a:r>
              <a:rPr lang="en-US" sz="2000" dirty="0">
                <a:solidFill>
                  <a:srgbClr val="101820"/>
                </a:solidFill>
                <a:cs typeface="Arial" panose="020B0604020202020204" pitchFamily="34" charset="0"/>
              </a:rPr>
              <a:t>Public-private partnerships to support aging in place</a:t>
            </a:r>
          </a:p>
          <a:p>
            <a:pPr marL="285750" indent="-285750">
              <a:spcBef>
                <a:spcPts val="1200"/>
              </a:spcBef>
              <a:spcAft>
                <a:spcPts val="600"/>
              </a:spcAft>
              <a:buFont typeface="Arial" panose="020B0604020202020204" pitchFamily="34" charset="0"/>
              <a:buChar char="•"/>
            </a:pPr>
            <a:r>
              <a:rPr lang="en-US" sz="2000" dirty="0">
                <a:solidFill>
                  <a:srgbClr val="101820"/>
                </a:solidFill>
                <a:cs typeface="Arial" panose="020B0604020202020204" pitchFamily="34" charset="0"/>
              </a:rPr>
              <a:t>Person-centered planning</a:t>
            </a:r>
          </a:p>
          <a:p>
            <a:pPr marL="285750" indent="-285750">
              <a:spcBef>
                <a:spcPts val="1200"/>
              </a:spcBef>
              <a:spcAft>
                <a:spcPts val="600"/>
              </a:spcAft>
              <a:buFont typeface="Arial" panose="020B0604020202020204" pitchFamily="34" charset="0"/>
              <a:buChar char="•"/>
            </a:pPr>
            <a:r>
              <a:rPr lang="en-US" sz="2000" dirty="0">
                <a:solidFill>
                  <a:srgbClr val="101820"/>
                </a:solidFill>
                <a:cs typeface="Arial" panose="020B0604020202020204" pitchFamily="34" charset="0"/>
              </a:rPr>
              <a:t>Fair pay and appropriate working conditions </a:t>
            </a:r>
          </a:p>
          <a:p>
            <a:pPr marL="285750" indent="-285750">
              <a:spcBef>
                <a:spcPts val="1200"/>
              </a:spcBef>
              <a:spcAft>
                <a:spcPts val="600"/>
              </a:spcAft>
              <a:buFont typeface="Arial" panose="020B0604020202020204" pitchFamily="34" charset="0"/>
              <a:buChar char="•"/>
            </a:pPr>
            <a:r>
              <a:rPr lang="en-US" sz="2000" dirty="0">
                <a:solidFill>
                  <a:srgbClr val="101820"/>
                </a:solidFill>
                <a:cs typeface="Arial" panose="020B0604020202020204" pitchFamily="34" charset="0"/>
              </a:rPr>
              <a:t>Increased access to information about services and supports</a:t>
            </a:r>
          </a:p>
          <a:p>
            <a:pPr marL="285750" indent="-285750">
              <a:spcBef>
                <a:spcPts val="1200"/>
              </a:spcBef>
              <a:spcAft>
                <a:spcPts val="600"/>
              </a:spcAft>
              <a:buFont typeface="Arial" panose="020B0604020202020204" pitchFamily="34" charset="0"/>
              <a:buChar char="•"/>
            </a:pPr>
            <a:r>
              <a:rPr lang="en-US" sz="2000" dirty="0">
                <a:solidFill>
                  <a:srgbClr val="101820"/>
                </a:solidFill>
                <a:cs typeface="Arial" panose="020B0604020202020204" pitchFamily="34" charset="0"/>
              </a:rPr>
              <a:t>Expanded availability of services </a:t>
            </a:r>
          </a:p>
        </p:txBody>
      </p:sp>
      <p:pic>
        <p:nvPicPr>
          <p:cNvPr id="8" name="Picture 7">
            <a:extLst>
              <a:ext uri="{FF2B5EF4-FFF2-40B4-BE49-F238E27FC236}">
                <a16:creationId xmlns:a16="http://schemas.microsoft.com/office/drawing/2014/main" id="{6C02CF9A-D436-4FAF-8724-E43465796CA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14333" y="1323975"/>
            <a:ext cx="3630950" cy="3630950"/>
          </a:xfrm>
          <a:prstGeom prst="rect">
            <a:avLst/>
          </a:prstGeom>
        </p:spPr>
      </p:pic>
      <p:pic>
        <p:nvPicPr>
          <p:cNvPr id="5" name="Picture 4" descr="Graphical user interface, text&#10;&#10;Description automatically generated">
            <a:extLst>
              <a:ext uri="{FF2B5EF4-FFF2-40B4-BE49-F238E27FC236}">
                <a16:creationId xmlns:a16="http://schemas.microsoft.com/office/drawing/2014/main" id="{8470D3EC-FD01-432F-AE77-04F0963A1D51}"/>
              </a:ext>
            </a:extLst>
          </p:cNvPr>
          <p:cNvPicPr>
            <a:picLocks noChangeAspect="1"/>
          </p:cNvPicPr>
          <p:nvPr/>
        </p:nvPicPr>
        <p:blipFill>
          <a:blip r:embed="rId7"/>
          <a:stretch>
            <a:fillRect/>
          </a:stretch>
        </p:blipFill>
        <p:spPr>
          <a:xfrm>
            <a:off x="8414333" y="1323975"/>
            <a:ext cx="3630950" cy="3630950"/>
          </a:xfrm>
          <a:prstGeom prst="rect">
            <a:avLst/>
          </a:prstGeom>
        </p:spPr>
      </p:pic>
    </p:spTree>
    <p:extLst>
      <p:ext uri="{BB962C8B-B14F-4D97-AF65-F5344CB8AC3E}">
        <p14:creationId xmlns:p14="http://schemas.microsoft.com/office/powerpoint/2010/main" val="738277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E38B0E9-5D29-4D90-8EFE-D607F845343F}"/>
              </a:ext>
            </a:extLst>
          </p:cNvPr>
          <p:cNvSpPr/>
          <p:nvPr/>
        </p:nvSpPr>
        <p:spPr>
          <a:xfrm>
            <a:off x="5179040" y="185766"/>
            <a:ext cx="1953722" cy="948558"/>
          </a:xfrm>
          <a:prstGeom prst="rect">
            <a:avLst/>
          </a:prstGeom>
          <a:solidFill>
            <a:srgbClr val="233E90"/>
          </a:solidFill>
          <a:effectLst>
            <a:glow>
              <a:schemeClr val="accent1">
                <a:alpha val="48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NYS Governor </a:t>
            </a:r>
          </a:p>
          <a:p>
            <a:pPr algn="ctr"/>
            <a:r>
              <a:rPr lang="en-US" sz="1600" dirty="0">
                <a:effectLst>
                  <a:outerShdw blurRad="50800" dist="38100" dir="2700000" algn="tl" rotWithShape="0">
                    <a:prstClr val="black">
                      <a:alpha val="40000"/>
                    </a:prstClr>
                  </a:outerShdw>
                </a:effectLst>
              </a:rPr>
              <a:t>Kathy </a:t>
            </a:r>
            <a:r>
              <a:rPr lang="en-US" sz="1600" dirty="0" err="1">
                <a:effectLst>
                  <a:outerShdw blurRad="50800" dist="38100" dir="2700000" algn="tl" rotWithShape="0">
                    <a:prstClr val="black">
                      <a:alpha val="40000"/>
                    </a:prstClr>
                  </a:outerShdw>
                </a:effectLst>
              </a:rPr>
              <a:t>Hochul</a:t>
            </a:r>
            <a:endParaRPr lang="en-US" sz="1600" dirty="0">
              <a:effectLst>
                <a:outerShdw blurRad="50800" dist="38100" dir="2700000" algn="tl" rotWithShape="0">
                  <a:prstClr val="black">
                    <a:alpha val="40000"/>
                  </a:prstClr>
                </a:outerShdw>
              </a:effectLst>
            </a:endParaRPr>
          </a:p>
        </p:txBody>
      </p:sp>
      <p:sp>
        <p:nvSpPr>
          <p:cNvPr id="34" name="Rectangle 33">
            <a:extLst>
              <a:ext uri="{FF2B5EF4-FFF2-40B4-BE49-F238E27FC236}">
                <a16:creationId xmlns:a16="http://schemas.microsoft.com/office/drawing/2014/main" id="{3980C816-EFAC-4636-A1B1-A73A24D6E9B9}"/>
              </a:ext>
            </a:extLst>
          </p:cNvPr>
          <p:cNvSpPr/>
          <p:nvPr/>
        </p:nvSpPr>
        <p:spPr>
          <a:xfrm>
            <a:off x="5017892" y="1317332"/>
            <a:ext cx="2255430" cy="1416196"/>
          </a:xfrm>
          <a:prstGeom prst="rect">
            <a:avLst/>
          </a:prstGeom>
          <a:solidFill>
            <a:srgbClr val="522A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Department of Health</a:t>
            </a:r>
          </a:p>
          <a:p>
            <a:pPr algn="ctr"/>
            <a:r>
              <a:rPr lang="en-US" sz="1600" dirty="0">
                <a:effectLst>
                  <a:outerShdw blurRad="50800" dist="38100" dir="2700000" algn="tl" rotWithShape="0">
                    <a:prstClr val="black">
                      <a:alpha val="40000"/>
                    </a:prstClr>
                  </a:outerShdw>
                </a:effectLst>
              </a:rPr>
              <a:t>State Office for Aging</a:t>
            </a:r>
          </a:p>
        </p:txBody>
      </p:sp>
      <p:sp>
        <p:nvSpPr>
          <p:cNvPr id="35" name="Rectangle 34">
            <a:extLst>
              <a:ext uri="{FF2B5EF4-FFF2-40B4-BE49-F238E27FC236}">
                <a16:creationId xmlns:a16="http://schemas.microsoft.com/office/drawing/2014/main" id="{F0BCB782-2953-4F7F-847F-4C6D137D478D}"/>
              </a:ext>
            </a:extLst>
          </p:cNvPr>
          <p:cNvSpPr/>
          <p:nvPr/>
        </p:nvSpPr>
        <p:spPr>
          <a:xfrm>
            <a:off x="345296" y="3591558"/>
            <a:ext cx="1213223" cy="1126183"/>
          </a:xfrm>
          <a:prstGeom prst="rect">
            <a:avLst/>
          </a:prstGeom>
          <a:solidFill>
            <a:srgbClr val="6F50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Long Term Service and Supports</a:t>
            </a:r>
          </a:p>
        </p:txBody>
      </p:sp>
      <p:sp>
        <p:nvSpPr>
          <p:cNvPr id="36" name="Rectangle 35">
            <a:extLst>
              <a:ext uri="{FF2B5EF4-FFF2-40B4-BE49-F238E27FC236}">
                <a16:creationId xmlns:a16="http://schemas.microsoft.com/office/drawing/2014/main" id="{3ABB8577-85FA-4E80-8D3F-29B46B174F86}"/>
              </a:ext>
            </a:extLst>
          </p:cNvPr>
          <p:cNvSpPr/>
          <p:nvPr/>
        </p:nvSpPr>
        <p:spPr>
          <a:xfrm>
            <a:off x="1745743" y="3604134"/>
            <a:ext cx="1213223" cy="1101030"/>
          </a:xfrm>
          <a:prstGeom prst="rect">
            <a:avLst/>
          </a:prstGeom>
          <a:solidFill>
            <a:srgbClr val="6F50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Home and Community Based Services</a:t>
            </a:r>
          </a:p>
        </p:txBody>
      </p:sp>
      <p:cxnSp>
        <p:nvCxnSpPr>
          <p:cNvPr id="37" name="Straight Connector 36">
            <a:extLst>
              <a:ext uri="{FF2B5EF4-FFF2-40B4-BE49-F238E27FC236}">
                <a16:creationId xmlns:a16="http://schemas.microsoft.com/office/drawing/2014/main" id="{BB990DBB-3E67-471E-A3C4-321261CEAB5D}"/>
              </a:ext>
            </a:extLst>
          </p:cNvPr>
          <p:cNvCxnSpPr>
            <a:cxnSpLocks/>
            <a:stCxn id="26" idx="2"/>
            <a:endCxn id="34" idx="0"/>
          </p:cNvCxnSpPr>
          <p:nvPr/>
        </p:nvCxnSpPr>
        <p:spPr>
          <a:xfrm flipH="1">
            <a:off x="6145607" y="1134324"/>
            <a:ext cx="10294" cy="183008"/>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0DC9B01A-AF33-4ED8-98F2-DBFAC63BCD87}"/>
              </a:ext>
            </a:extLst>
          </p:cNvPr>
          <p:cNvSpPr/>
          <p:nvPr/>
        </p:nvSpPr>
        <p:spPr>
          <a:xfrm>
            <a:off x="4566078" y="3589379"/>
            <a:ext cx="1213223" cy="1101031"/>
          </a:xfrm>
          <a:prstGeom prst="rect">
            <a:avLst/>
          </a:prstGeom>
          <a:solidFill>
            <a:srgbClr val="6F50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Informal Caregivers</a:t>
            </a:r>
          </a:p>
        </p:txBody>
      </p:sp>
      <p:sp>
        <p:nvSpPr>
          <p:cNvPr id="39" name="Rectangle 38">
            <a:extLst>
              <a:ext uri="{FF2B5EF4-FFF2-40B4-BE49-F238E27FC236}">
                <a16:creationId xmlns:a16="http://schemas.microsoft.com/office/drawing/2014/main" id="{0BA52114-41A0-4219-A613-1223D0DE481C}"/>
              </a:ext>
            </a:extLst>
          </p:cNvPr>
          <p:cNvSpPr/>
          <p:nvPr/>
        </p:nvSpPr>
        <p:spPr>
          <a:xfrm>
            <a:off x="9156876" y="3604134"/>
            <a:ext cx="1231250" cy="1071487"/>
          </a:xfrm>
          <a:prstGeom prst="rect">
            <a:avLst/>
          </a:prstGeom>
          <a:solidFill>
            <a:srgbClr val="6F50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Economic Security</a:t>
            </a:r>
          </a:p>
        </p:txBody>
      </p:sp>
      <p:sp>
        <p:nvSpPr>
          <p:cNvPr id="40" name="Rectangle 39">
            <a:extLst>
              <a:ext uri="{FF2B5EF4-FFF2-40B4-BE49-F238E27FC236}">
                <a16:creationId xmlns:a16="http://schemas.microsoft.com/office/drawing/2014/main" id="{F273B064-7A10-4F20-BCFC-ACF00F0D06F6}"/>
              </a:ext>
            </a:extLst>
          </p:cNvPr>
          <p:cNvSpPr/>
          <p:nvPr/>
        </p:nvSpPr>
        <p:spPr>
          <a:xfrm>
            <a:off x="5990492" y="3604134"/>
            <a:ext cx="1153366" cy="1101031"/>
          </a:xfrm>
          <a:prstGeom prst="rect">
            <a:avLst/>
          </a:prstGeom>
          <a:solidFill>
            <a:srgbClr val="6F50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Health and Wellness</a:t>
            </a:r>
          </a:p>
        </p:txBody>
      </p:sp>
      <p:sp>
        <p:nvSpPr>
          <p:cNvPr id="41" name="Rectangle 40">
            <a:extLst>
              <a:ext uri="{FF2B5EF4-FFF2-40B4-BE49-F238E27FC236}">
                <a16:creationId xmlns:a16="http://schemas.microsoft.com/office/drawing/2014/main" id="{6ADB5B90-AFB3-4CAE-8720-605C8B290C3A}"/>
              </a:ext>
            </a:extLst>
          </p:cNvPr>
          <p:cNvSpPr/>
          <p:nvPr/>
        </p:nvSpPr>
        <p:spPr>
          <a:xfrm>
            <a:off x="10570708" y="3623988"/>
            <a:ext cx="1231250" cy="1057455"/>
          </a:xfrm>
          <a:prstGeom prst="rect">
            <a:avLst/>
          </a:prstGeom>
          <a:solidFill>
            <a:srgbClr val="6F50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Safety, Security, Technology </a:t>
            </a:r>
          </a:p>
        </p:txBody>
      </p:sp>
      <p:sp>
        <p:nvSpPr>
          <p:cNvPr id="42" name="Rectangle 41">
            <a:extLst>
              <a:ext uri="{FF2B5EF4-FFF2-40B4-BE49-F238E27FC236}">
                <a16:creationId xmlns:a16="http://schemas.microsoft.com/office/drawing/2014/main" id="{8D23B98B-5CC9-4D2A-8007-890FCF1C5C83}"/>
              </a:ext>
            </a:extLst>
          </p:cNvPr>
          <p:cNvSpPr/>
          <p:nvPr/>
        </p:nvSpPr>
        <p:spPr>
          <a:xfrm>
            <a:off x="7326440" y="3618905"/>
            <a:ext cx="1647854" cy="1071487"/>
          </a:xfrm>
          <a:prstGeom prst="rect">
            <a:avLst/>
          </a:prstGeom>
          <a:solidFill>
            <a:srgbClr val="6F50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Housing, Community Development &amp;</a:t>
            </a:r>
          </a:p>
          <a:p>
            <a:pPr algn="ctr"/>
            <a:r>
              <a:rPr lang="en-US" sz="1600" dirty="0">
                <a:effectLst>
                  <a:outerShdw blurRad="50800" dist="38100" dir="2700000" algn="tl" rotWithShape="0">
                    <a:prstClr val="black">
                      <a:alpha val="40000"/>
                    </a:prstClr>
                  </a:outerShdw>
                </a:effectLst>
              </a:rPr>
              <a:t>Transportation</a:t>
            </a:r>
          </a:p>
        </p:txBody>
      </p:sp>
      <p:sp>
        <p:nvSpPr>
          <p:cNvPr id="50" name="Rectangle 49">
            <a:extLst>
              <a:ext uri="{FF2B5EF4-FFF2-40B4-BE49-F238E27FC236}">
                <a16:creationId xmlns:a16="http://schemas.microsoft.com/office/drawing/2014/main" id="{C53432CE-B3F2-4694-9D70-E7A5A0B72D9D}"/>
              </a:ext>
            </a:extLst>
          </p:cNvPr>
          <p:cNvSpPr/>
          <p:nvPr/>
        </p:nvSpPr>
        <p:spPr>
          <a:xfrm>
            <a:off x="1861887" y="4856572"/>
            <a:ext cx="941761" cy="867104"/>
          </a:xfrm>
          <a:prstGeom prst="rect">
            <a:avLst/>
          </a:prstGeom>
          <a:solidFill>
            <a:srgbClr val="0077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Work Groups</a:t>
            </a:r>
          </a:p>
        </p:txBody>
      </p:sp>
      <p:sp>
        <p:nvSpPr>
          <p:cNvPr id="52" name="Rectangle 51">
            <a:extLst>
              <a:ext uri="{FF2B5EF4-FFF2-40B4-BE49-F238E27FC236}">
                <a16:creationId xmlns:a16="http://schemas.microsoft.com/office/drawing/2014/main" id="{8FA9D60F-2A3D-4E89-B36F-56A9380FE0E4}"/>
              </a:ext>
            </a:extLst>
          </p:cNvPr>
          <p:cNvSpPr/>
          <p:nvPr/>
        </p:nvSpPr>
        <p:spPr>
          <a:xfrm>
            <a:off x="4699938" y="4856572"/>
            <a:ext cx="947049" cy="867104"/>
          </a:xfrm>
          <a:prstGeom prst="rect">
            <a:avLst/>
          </a:prstGeom>
          <a:solidFill>
            <a:srgbClr val="0077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Work Groups</a:t>
            </a:r>
          </a:p>
        </p:txBody>
      </p:sp>
      <p:sp>
        <p:nvSpPr>
          <p:cNvPr id="53" name="Rectangle 52">
            <a:extLst>
              <a:ext uri="{FF2B5EF4-FFF2-40B4-BE49-F238E27FC236}">
                <a16:creationId xmlns:a16="http://schemas.microsoft.com/office/drawing/2014/main" id="{441F4EAF-5490-4966-A490-835B0F5A6EE7}"/>
              </a:ext>
            </a:extLst>
          </p:cNvPr>
          <p:cNvSpPr/>
          <p:nvPr/>
        </p:nvSpPr>
        <p:spPr>
          <a:xfrm>
            <a:off x="6111647" y="4852208"/>
            <a:ext cx="951659" cy="867104"/>
          </a:xfrm>
          <a:prstGeom prst="rect">
            <a:avLst/>
          </a:prstGeom>
          <a:solidFill>
            <a:srgbClr val="0077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Work Groups</a:t>
            </a:r>
          </a:p>
        </p:txBody>
      </p:sp>
      <p:sp>
        <p:nvSpPr>
          <p:cNvPr id="54" name="Rectangle 53">
            <a:extLst>
              <a:ext uri="{FF2B5EF4-FFF2-40B4-BE49-F238E27FC236}">
                <a16:creationId xmlns:a16="http://schemas.microsoft.com/office/drawing/2014/main" id="{52BE37F0-D8D3-4008-A445-754651434D86}"/>
              </a:ext>
            </a:extLst>
          </p:cNvPr>
          <p:cNvSpPr/>
          <p:nvPr/>
        </p:nvSpPr>
        <p:spPr>
          <a:xfrm>
            <a:off x="7639351" y="4845525"/>
            <a:ext cx="1068187" cy="867104"/>
          </a:xfrm>
          <a:prstGeom prst="rect">
            <a:avLst/>
          </a:prstGeom>
          <a:solidFill>
            <a:srgbClr val="0077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Work Groups</a:t>
            </a:r>
          </a:p>
        </p:txBody>
      </p:sp>
      <p:sp>
        <p:nvSpPr>
          <p:cNvPr id="55" name="Rectangle 54">
            <a:extLst>
              <a:ext uri="{FF2B5EF4-FFF2-40B4-BE49-F238E27FC236}">
                <a16:creationId xmlns:a16="http://schemas.microsoft.com/office/drawing/2014/main" id="{3606A534-EBE2-4B96-973F-D05737482AC0}"/>
              </a:ext>
            </a:extLst>
          </p:cNvPr>
          <p:cNvSpPr/>
          <p:nvPr/>
        </p:nvSpPr>
        <p:spPr>
          <a:xfrm>
            <a:off x="9278190" y="4860876"/>
            <a:ext cx="951659" cy="867104"/>
          </a:xfrm>
          <a:prstGeom prst="rect">
            <a:avLst/>
          </a:prstGeom>
          <a:solidFill>
            <a:srgbClr val="0077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Work Groups</a:t>
            </a:r>
          </a:p>
        </p:txBody>
      </p:sp>
      <p:sp>
        <p:nvSpPr>
          <p:cNvPr id="56" name="Rectangle 55">
            <a:extLst>
              <a:ext uri="{FF2B5EF4-FFF2-40B4-BE49-F238E27FC236}">
                <a16:creationId xmlns:a16="http://schemas.microsoft.com/office/drawing/2014/main" id="{FA705243-FBAC-42AB-9F83-436554C4B741}"/>
              </a:ext>
            </a:extLst>
          </p:cNvPr>
          <p:cNvSpPr/>
          <p:nvPr/>
        </p:nvSpPr>
        <p:spPr>
          <a:xfrm>
            <a:off x="10679838" y="4845525"/>
            <a:ext cx="951659" cy="867104"/>
          </a:xfrm>
          <a:prstGeom prst="rect">
            <a:avLst/>
          </a:prstGeom>
          <a:solidFill>
            <a:srgbClr val="0077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Work Groups</a:t>
            </a:r>
          </a:p>
        </p:txBody>
      </p:sp>
      <p:sp>
        <p:nvSpPr>
          <p:cNvPr id="57" name="Rectangle 56">
            <a:extLst>
              <a:ext uri="{FF2B5EF4-FFF2-40B4-BE49-F238E27FC236}">
                <a16:creationId xmlns:a16="http://schemas.microsoft.com/office/drawing/2014/main" id="{DB0399F2-0DA7-4586-9482-6217E23853CB}"/>
              </a:ext>
            </a:extLst>
          </p:cNvPr>
          <p:cNvSpPr/>
          <p:nvPr/>
        </p:nvSpPr>
        <p:spPr>
          <a:xfrm>
            <a:off x="7882587" y="2167608"/>
            <a:ext cx="2255430" cy="1071487"/>
          </a:xfrm>
          <a:prstGeom prst="rect">
            <a:avLst/>
          </a:prstGeom>
          <a:solidFill>
            <a:srgbClr val="002D7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State Agency Council</a:t>
            </a:r>
          </a:p>
        </p:txBody>
      </p:sp>
      <p:sp>
        <p:nvSpPr>
          <p:cNvPr id="61" name="Rectangle 60">
            <a:extLst>
              <a:ext uri="{FF2B5EF4-FFF2-40B4-BE49-F238E27FC236}">
                <a16:creationId xmlns:a16="http://schemas.microsoft.com/office/drawing/2014/main" id="{FF353D50-DD91-4CFA-8DE1-B23675A7B037}"/>
              </a:ext>
            </a:extLst>
          </p:cNvPr>
          <p:cNvSpPr/>
          <p:nvPr/>
        </p:nvSpPr>
        <p:spPr>
          <a:xfrm>
            <a:off x="2346838" y="2197784"/>
            <a:ext cx="2129802" cy="1071487"/>
          </a:xfrm>
          <a:prstGeom prst="rect">
            <a:avLst/>
          </a:prstGeom>
          <a:solidFill>
            <a:srgbClr val="002D7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Stakeholder Advisory Committee</a:t>
            </a:r>
          </a:p>
        </p:txBody>
      </p:sp>
      <p:cxnSp>
        <p:nvCxnSpPr>
          <p:cNvPr id="62" name="Straight Arrow Connector 61">
            <a:extLst>
              <a:ext uri="{FF2B5EF4-FFF2-40B4-BE49-F238E27FC236}">
                <a16:creationId xmlns:a16="http://schemas.microsoft.com/office/drawing/2014/main" id="{103E3ACB-8F11-4A88-86C4-82057D90762C}"/>
              </a:ext>
            </a:extLst>
          </p:cNvPr>
          <p:cNvCxnSpPr>
            <a:cxnSpLocks/>
            <a:stCxn id="61" idx="0"/>
          </p:cNvCxnSpPr>
          <p:nvPr/>
        </p:nvCxnSpPr>
        <p:spPr>
          <a:xfrm flipV="1">
            <a:off x="3411739" y="1743459"/>
            <a:ext cx="1575681" cy="45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C8629525-A105-47B9-8888-F931C15A1F45}"/>
              </a:ext>
            </a:extLst>
          </p:cNvPr>
          <p:cNvCxnSpPr>
            <a:cxnSpLocks/>
            <a:stCxn id="57" idx="0"/>
          </p:cNvCxnSpPr>
          <p:nvPr/>
        </p:nvCxnSpPr>
        <p:spPr>
          <a:xfrm flipH="1" flipV="1">
            <a:off x="7319636" y="1713283"/>
            <a:ext cx="1690666" cy="4543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8AA7397D-1BC0-4D79-A24A-1A581DE9EDF1}"/>
              </a:ext>
            </a:extLst>
          </p:cNvPr>
          <p:cNvSpPr/>
          <p:nvPr/>
        </p:nvSpPr>
        <p:spPr>
          <a:xfrm>
            <a:off x="758280" y="5967908"/>
            <a:ext cx="2519931" cy="616328"/>
          </a:xfrm>
          <a:prstGeom prst="rect">
            <a:avLst/>
          </a:prstGeom>
          <a:solidFill>
            <a:srgbClr val="6787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wn Hall Listening Sessions</a:t>
            </a:r>
          </a:p>
        </p:txBody>
      </p:sp>
      <p:sp>
        <p:nvSpPr>
          <p:cNvPr id="65" name="Rectangle 64">
            <a:extLst>
              <a:ext uri="{FF2B5EF4-FFF2-40B4-BE49-F238E27FC236}">
                <a16:creationId xmlns:a16="http://schemas.microsoft.com/office/drawing/2014/main" id="{591212DE-C461-4197-921C-AF646C6EC0A8}"/>
              </a:ext>
            </a:extLst>
          </p:cNvPr>
          <p:cNvSpPr/>
          <p:nvPr/>
        </p:nvSpPr>
        <p:spPr>
          <a:xfrm>
            <a:off x="4467546" y="5967908"/>
            <a:ext cx="3256908" cy="616328"/>
          </a:xfrm>
          <a:prstGeom prst="rect">
            <a:avLst/>
          </a:prstGeom>
          <a:solidFill>
            <a:srgbClr val="6787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 Outreach Surveys</a:t>
            </a:r>
          </a:p>
        </p:txBody>
      </p:sp>
      <p:sp>
        <p:nvSpPr>
          <p:cNvPr id="66" name="Rectangle 65">
            <a:extLst>
              <a:ext uri="{FF2B5EF4-FFF2-40B4-BE49-F238E27FC236}">
                <a16:creationId xmlns:a16="http://schemas.microsoft.com/office/drawing/2014/main" id="{41302993-76FF-41C3-8190-2F2970CDE744}"/>
              </a:ext>
            </a:extLst>
          </p:cNvPr>
          <p:cNvSpPr/>
          <p:nvPr/>
        </p:nvSpPr>
        <p:spPr>
          <a:xfrm>
            <a:off x="8389334" y="5967908"/>
            <a:ext cx="2766334" cy="616328"/>
          </a:xfrm>
          <a:prstGeom prst="rect">
            <a:avLst/>
          </a:prstGeom>
          <a:solidFill>
            <a:srgbClr val="6787B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ublic Website and Newsletter</a:t>
            </a:r>
          </a:p>
        </p:txBody>
      </p:sp>
      <p:sp>
        <p:nvSpPr>
          <p:cNvPr id="67" name="Rectangle 66">
            <a:extLst>
              <a:ext uri="{FF2B5EF4-FFF2-40B4-BE49-F238E27FC236}">
                <a16:creationId xmlns:a16="http://schemas.microsoft.com/office/drawing/2014/main" id="{9E79191C-ED1F-4B35-A8D3-0049DBAD75BA}"/>
              </a:ext>
            </a:extLst>
          </p:cNvPr>
          <p:cNvSpPr/>
          <p:nvPr/>
        </p:nvSpPr>
        <p:spPr>
          <a:xfrm>
            <a:off x="3146190" y="3604134"/>
            <a:ext cx="1213223" cy="1101031"/>
          </a:xfrm>
          <a:prstGeom prst="rect">
            <a:avLst/>
          </a:prstGeom>
          <a:solidFill>
            <a:srgbClr val="6F50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Formal Caregivers</a:t>
            </a:r>
          </a:p>
        </p:txBody>
      </p:sp>
      <p:sp>
        <p:nvSpPr>
          <p:cNvPr id="68" name="Rectangle 67">
            <a:extLst>
              <a:ext uri="{FF2B5EF4-FFF2-40B4-BE49-F238E27FC236}">
                <a16:creationId xmlns:a16="http://schemas.microsoft.com/office/drawing/2014/main" id="{6C785C13-0CED-465E-887D-6A7D8A067884}"/>
              </a:ext>
            </a:extLst>
          </p:cNvPr>
          <p:cNvSpPr/>
          <p:nvPr/>
        </p:nvSpPr>
        <p:spPr>
          <a:xfrm>
            <a:off x="3279276" y="4856572"/>
            <a:ext cx="947049" cy="867104"/>
          </a:xfrm>
          <a:prstGeom prst="rect">
            <a:avLst/>
          </a:prstGeom>
          <a:solidFill>
            <a:srgbClr val="0077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Work Groups</a:t>
            </a:r>
          </a:p>
        </p:txBody>
      </p:sp>
      <p:sp>
        <p:nvSpPr>
          <p:cNvPr id="69" name="Rectangle 68">
            <a:extLst>
              <a:ext uri="{FF2B5EF4-FFF2-40B4-BE49-F238E27FC236}">
                <a16:creationId xmlns:a16="http://schemas.microsoft.com/office/drawing/2014/main" id="{FA1641ED-5B41-415D-BD1E-D3E16BBBB522}"/>
              </a:ext>
            </a:extLst>
          </p:cNvPr>
          <p:cNvSpPr/>
          <p:nvPr/>
        </p:nvSpPr>
        <p:spPr>
          <a:xfrm>
            <a:off x="491551" y="4856572"/>
            <a:ext cx="941761" cy="867104"/>
          </a:xfrm>
          <a:prstGeom prst="rect">
            <a:avLst/>
          </a:prstGeom>
          <a:solidFill>
            <a:srgbClr val="0077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effectLst>
                  <a:outerShdw blurRad="50800" dist="38100" dir="2700000" algn="tl" rotWithShape="0">
                    <a:prstClr val="black">
                      <a:alpha val="40000"/>
                    </a:prstClr>
                  </a:outerShdw>
                </a:effectLst>
              </a:rPr>
              <a:t>Work Groups</a:t>
            </a:r>
          </a:p>
        </p:txBody>
      </p:sp>
      <p:sp>
        <p:nvSpPr>
          <p:cNvPr id="70" name="TextBox 69">
            <a:extLst>
              <a:ext uri="{FF2B5EF4-FFF2-40B4-BE49-F238E27FC236}">
                <a16:creationId xmlns:a16="http://schemas.microsoft.com/office/drawing/2014/main" id="{4D565BCB-39C6-4299-BCF3-2F8129CA840B}"/>
              </a:ext>
            </a:extLst>
          </p:cNvPr>
          <p:cNvSpPr txBox="1"/>
          <p:nvPr/>
        </p:nvSpPr>
        <p:spPr>
          <a:xfrm>
            <a:off x="475718" y="308626"/>
            <a:ext cx="4224219" cy="4001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2000" b="1" i="0" u="none" strike="noStrike" dirty="0">
                <a:solidFill>
                  <a:srgbClr val="233E90"/>
                </a:solidFill>
                <a:effectLst/>
                <a:latin typeface="Arial" panose="020B0604020202020204" pitchFamily="34" charset="0"/>
              </a:rPr>
              <a:t>Master </a:t>
            </a:r>
            <a:r>
              <a:rPr lang="en-US" sz="2000" b="1" dirty="0">
                <a:solidFill>
                  <a:srgbClr val="233E90"/>
                </a:solidFill>
                <a:latin typeface="Arial" panose="020B0604020202020204" pitchFamily="34" charset="0"/>
              </a:rPr>
              <a:t>Plan</a:t>
            </a:r>
            <a:r>
              <a:rPr lang="en-US" sz="2000" b="1" i="0" u="none" strike="noStrike" dirty="0">
                <a:solidFill>
                  <a:srgbClr val="233E90"/>
                </a:solidFill>
                <a:effectLst/>
                <a:latin typeface="Arial" panose="020B0604020202020204" pitchFamily="34" charset="0"/>
              </a:rPr>
              <a:t> for Aging </a:t>
            </a:r>
            <a:r>
              <a:rPr lang="en-US" sz="2000" b="1" dirty="0">
                <a:solidFill>
                  <a:srgbClr val="233E90"/>
                </a:solidFill>
                <a:latin typeface="Arial" panose="020B0604020202020204" pitchFamily="34" charset="0"/>
              </a:rPr>
              <a:t>Structure</a:t>
            </a:r>
            <a:endParaRPr lang="en-US" sz="2000" b="1" dirty="0">
              <a:solidFill>
                <a:srgbClr val="233E90"/>
              </a:solidFill>
            </a:endParaRPr>
          </a:p>
        </p:txBody>
      </p:sp>
    </p:spTree>
    <p:extLst>
      <p:ext uri="{BB962C8B-B14F-4D97-AF65-F5344CB8AC3E}">
        <p14:creationId xmlns:p14="http://schemas.microsoft.com/office/powerpoint/2010/main" val="2119421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5495E-55E3-4F35-A69D-3B85782E690B}"/>
              </a:ext>
            </a:extLst>
          </p:cNvPr>
          <p:cNvSpPr>
            <a:spLocks noGrp="1"/>
          </p:cNvSpPr>
          <p:nvPr>
            <p:ph type="title"/>
          </p:nvPr>
        </p:nvSpPr>
        <p:spPr>
          <a:xfrm>
            <a:off x="145091" y="2681103"/>
            <a:ext cx="3855244" cy="1495794"/>
          </a:xfrm>
        </p:spPr>
        <p:txBody>
          <a:bodyPr/>
          <a:lstStyle/>
          <a:p>
            <a:pPr algn="ctr"/>
            <a:r>
              <a:rPr lang="en-US" sz="3600">
                <a:latin typeface="Arial" panose="020B0604020202020204" pitchFamily="34" charset="0"/>
                <a:cs typeface="Arial" panose="020B0604020202020204" pitchFamily="34" charset="0"/>
              </a:rPr>
              <a:t>Subcommittees</a:t>
            </a:r>
          </a:p>
        </p:txBody>
      </p:sp>
      <p:sp>
        <p:nvSpPr>
          <p:cNvPr id="3" name="TextBox 2">
            <a:extLst>
              <a:ext uri="{FF2B5EF4-FFF2-40B4-BE49-F238E27FC236}">
                <a16:creationId xmlns:a16="http://schemas.microsoft.com/office/drawing/2014/main" id="{F540E9A8-BC31-441B-ADF1-90D31D65BF97}"/>
              </a:ext>
            </a:extLst>
          </p:cNvPr>
          <p:cNvSpPr txBox="1"/>
          <p:nvPr/>
        </p:nvSpPr>
        <p:spPr>
          <a:xfrm>
            <a:off x="4725637" y="416052"/>
            <a:ext cx="7466363" cy="60258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2000" dirty="0">
                <a:solidFill>
                  <a:schemeClr val="tx1"/>
                </a:solidFill>
                <a:latin typeface="Arial" panose="020B0604020202020204" pitchFamily="34" charset="0"/>
                <a:cs typeface="Arial" panose="020B0604020202020204" pitchFamily="34" charset="0"/>
              </a:rPr>
              <a:t>The following subcommittees have been created:</a:t>
            </a:r>
          </a:p>
          <a:p>
            <a:endParaRPr lang="en-US" sz="2000" dirty="0">
              <a:solidFill>
                <a:schemeClr val="tx1"/>
              </a:solidFill>
              <a:latin typeface="Arial" panose="020B0604020202020204" pitchFamily="34" charset="0"/>
              <a:cs typeface="Arial" panose="020B0604020202020204" pitchFamily="34" charset="0"/>
            </a:endParaRPr>
          </a:p>
          <a:p>
            <a:pPr marL="457200" indent="-457200">
              <a:lnSpc>
                <a:spcPct val="150000"/>
              </a:lnSpc>
              <a:buFont typeface="+mj-lt"/>
              <a:buAutoNum type="arabicPeriod"/>
            </a:pPr>
            <a:r>
              <a:rPr lang="en-US" sz="2000" dirty="0">
                <a:solidFill>
                  <a:schemeClr val="tx1"/>
                </a:solidFill>
                <a:latin typeface="Arial" panose="020B0604020202020204" pitchFamily="34" charset="0"/>
                <a:cs typeface="Arial" panose="020B0604020202020204" pitchFamily="34" charset="0"/>
              </a:rPr>
              <a:t>Long Term Services and Supports</a:t>
            </a:r>
          </a:p>
          <a:p>
            <a:pPr marL="457200" indent="-457200">
              <a:lnSpc>
                <a:spcPct val="150000"/>
              </a:lnSpc>
              <a:buFont typeface="+mj-lt"/>
              <a:buAutoNum type="arabicPeriod"/>
            </a:pPr>
            <a:r>
              <a:rPr lang="en-US" sz="2000" dirty="0">
                <a:solidFill>
                  <a:schemeClr val="tx1"/>
                </a:solidFill>
                <a:latin typeface="Arial" panose="020B0604020202020204" pitchFamily="34" charset="0"/>
                <a:cs typeface="Arial" panose="020B0604020202020204" pitchFamily="34" charset="0"/>
              </a:rPr>
              <a:t>Home and Community-Based Services</a:t>
            </a:r>
          </a:p>
          <a:p>
            <a:pPr marL="457200" indent="-457200">
              <a:lnSpc>
                <a:spcPct val="150000"/>
              </a:lnSpc>
              <a:buFont typeface="+mj-lt"/>
              <a:buAutoNum type="arabicPeriod"/>
            </a:pPr>
            <a:r>
              <a:rPr lang="en-US" sz="2000" dirty="0">
                <a:solidFill>
                  <a:schemeClr val="tx1"/>
                </a:solidFill>
                <a:latin typeface="Arial" panose="020B0604020202020204" pitchFamily="34" charset="0"/>
                <a:cs typeface="Arial" panose="020B0604020202020204" pitchFamily="34" charset="0"/>
              </a:rPr>
              <a:t>Formal Caregivers</a:t>
            </a:r>
          </a:p>
          <a:p>
            <a:pPr marL="457200" indent="-457200">
              <a:lnSpc>
                <a:spcPct val="150000"/>
              </a:lnSpc>
              <a:buFont typeface="+mj-lt"/>
              <a:buAutoNum type="arabicPeriod"/>
            </a:pPr>
            <a:r>
              <a:rPr lang="en-US" sz="2000" dirty="0">
                <a:solidFill>
                  <a:schemeClr val="tx1"/>
                </a:solidFill>
                <a:latin typeface="Arial" panose="020B0604020202020204" pitchFamily="34" charset="0"/>
                <a:cs typeface="Arial" panose="020B0604020202020204" pitchFamily="34" charset="0"/>
              </a:rPr>
              <a:t>Informal Caregivers</a:t>
            </a:r>
          </a:p>
          <a:p>
            <a:pPr marL="457200" indent="-457200">
              <a:lnSpc>
                <a:spcPct val="150000"/>
              </a:lnSpc>
              <a:buFont typeface="+mj-lt"/>
              <a:buAutoNum type="arabicPeriod"/>
            </a:pPr>
            <a:r>
              <a:rPr lang="en-US" sz="2000" dirty="0">
                <a:solidFill>
                  <a:schemeClr val="tx1"/>
                </a:solidFill>
                <a:latin typeface="Arial" panose="020B0604020202020204" pitchFamily="34" charset="0"/>
                <a:cs typeface="Arial" panose="020B0604020202020204" pitchFamily="34" charset="0"/>
              </a:rPr>
              <a:t>Safety, Security and Technology</a:t>
            </a:r>
          </a:p>
          <a:p>
            <a:pPr marL="457200" indent="-457200">
              <a:lnSpc>
                <a:spcPct val="150000"/>
              </a:lnSpc>
              <a:buFont typeface="+mj-lt"/>
              <a:buAutoNum type="arabicPeriod"/>
            </a:pPr>
            <a:r>
              <a:rPr lang="en-US" sz="2000" dirty="0">
                <a:solidFill>
                  <a:schemeClr val="tx1"/>
                </a:solidFill>
                <a:latin typeface="Arial" panose="020B0604020202020204" pitchFamily="34" charset="0"/>
                <a:cs typeface="Arial" panose="020B0604020202020204" pitchFamily="34" charset="0"/>
              </a:rPr>
              <a:t>Health and Wellness</a:t>
            </a:r>
          </a:p>
          <a:p>
            <a:pPr marL="457200" indent="-457200">
              <a:lnSpc>
                <a:spcPct val="150000"/>
              </a:lnSpc>
              <a:buFont typeface="+mj-lt"/>
              <a:buAutoNum type="arabicPeriod"/>
            </a:pPr>
            <a:r>
              <a:rPr lang="en-US" sz="2000" dirty="0">
                <a:solidFill>
                  <a:schemeClr val="tx1"/>
                </a:solidFill>
                <a:latin typeface="Arial" panose="020B0604020202020204" pitchFamily="34" charset="0"/>
                <a:cs typeface="Arial" panose="020B0604020202020204" pitchFamily="34" charset="0"/>
              </a:rPr>
              <a:t>Economic Security</a:t>
            </a:r>
          </a:p>
          <a:p>
            <a:pPr marL="457200" indent="-457200">
              <a:lnSpc>
                <a:spcPct val="150000"/>
              </a:lnSpc>
              <a:buFont typeface="+mj-lt"/>
              <a:buAutoNum type="arabicPeriod"/>
            </a:pPr>
            <a:r>
              <a:rPr lang="en-US" sz="2000" dirty="0">
                <a:solidFill>
                  <a:schemeClr val="tx1"/>
                </a:solidFill>
                <a:latin typeface="Arial" panose="020B0604020202020204" pitchFamily="34" charset="0"/>
                <a:cs typeface="Arial" panose="020B0604020202020204" pitchFamily="34" charset="0"/>
              </a:rPr>
              <a:t>Housing, Community Development and Transportation</a:t>
            </a:r>
          </a:p>
          <a:p>
            <a:pPr marL="228600" indent="-228600">
              <a:buFont typeface="+mj-lt"/>
              <a:buAutoNum type="arabicPeriod"/>
            </a:pPr>
            <a:endParaRPr lang="en-US" sz="1200" dirty="0">
              <a:solidFill>
                <a:srgbClr val="10182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8030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IS2gTmxM"/>
  <p:tag name="EE4P_STYLE_NAME" val="New York State Department of Health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BCG_MODE" val="Presentation"/>
  <p:tag name="BCG_DESIGN" val="Green half"/>
  <p:tag name="EE4P_LAYOUT_ID" val="K"/>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 York State Department of Health Grid 16:9 - 16054">
  <a:themeElements>
    <a:clrScheme name="Newyork">
      <a:dk1>
        <a:srgbClr val="101820"/>
      </a:dk1>
      <a:lt1>
        <a:sysClr val="window" lastClr="FFFFFF"/>
      </a:lt1>
      <a:dk2>
        <a:srgbClr val="523178"/>
      </a:dk2>
      <a:lt2>
        <a:srgbClr val="F2F2F2"/>
      </a:lt2>
      <a:accent1>
        <a:srgbClr val="2F1C44"/>
      </a:accent1>
      <a:accent2>
        <a:srgbClr val="442862"/>
      </a:accent2>
      <a:accent3>
        <a:srgbClr val="F2A900"/>
      </a:accent3>
      <a:accent4>
        <a:srgbClr val="6F5091"/>
      </a:accent4>
      <a:accent5>
        <a:srgbClr val="7F7F7F"/>
      </a:accent5>
      <a:accent6>
        <a:srgbClr val="00B050"/>
      </a:accent6>
      <a:hlink>
        <a:srgbClr val="0087A9"/>
      </a:hlink>
      <a:folHlink>
        <a:srgbClr val="00B5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523178"/>
        </a:solidFill>
        <a:ln w="9525" cap="rnd" cmpd="sng" algn="ctr">
          <a:solidFill>
            <a:srgbClr val="523178"/>
          </a:solidFill>
          <a:prstDash val="solid"/>
          <a:round/>
          <a:headEnd type="none" w="med" len="med"/>
          <a:tailEnd type="none" w="med" len="me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cmpd="sng" algn="ctr">
          <a:solidFill>
            <a:srgbClr val="9A9A9A"/>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200" dirty="0" smtClean="0">
            <a:solidFill>
              <a:srgbClr val="10182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16" id="{EEECA493-C98B-4B0D-91C9-1FC80FAD1647}" vid="{6A4982B8-4827-4ADC-93BF-563FC4CF8D2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1B4B6134C60F43A1ADF953F4E4A61A" ma:contentTypeVersion="14" ma:contentTypeDescription="Create a new document." ma:contentTypeScope="" ma:versionID="a270e2530f8e3fb41238f70b1202f984">
  <xsd:schema xmlns:xsd="http://www.w3.org/2001/XMLSchema" xmlns:xs="http://www.w3.org/2001/XMLSchema" xmlns:p="http://schemas.microsoft.com/office/2006/metadata/properties" xmlns:ns2="4d9a8bd8-1a01-4ed8-976f-b491577ecbaa" xmlns:ns3="98ef81e7-fc8b-4d07-a865-df9df549a712" targetNamespace="http://schemas.microsoft.com/office/2006/metadata/properties" ma:root="true" ma:fieldsID="7ffc41adeadbffbce0f38a341e9cfcf9" ns2:_="" ns3:_="">
    <xsd:import namespace="4d9a8bd8-1a01-4ed8-976f-b491577ecbaa"/>
    <xsd:import namespace="98ef81e7-fc8b-4d07-a865-df9df549a71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9a8bd8-1a01-4ed8-976f-b491577ecb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8ef81e7-fc8b-4d07-a865-df9df549a712"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75833a9b-1ee5-400d-982b-b2b5fe0b4eea}" ma:internalName="TaxCatchAll" ma:showField="CatchAllData" ma:web="98ef81e7-fc8b-4d07-a865-df9df549a71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8ef81e7-fc8b-4d07-a865-df9df549a712" xsi:nil="true"/>
    <lcf76f155ced4ddcb4097134ff3c332f xmlns="4d9a8bd8-1a01-4ed8-976f-b491577ecbaa">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E3A06D-FC7F-42EE-AFBE-710A04FB68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9a8bd8-1a01-4ed8-976f-b491577ecbaa"/>
    <ds:schemaRef ds:uri="98ef81e7-fc8b-4d07-a865-df9df549a7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8C0DBD3-81F2-45B8-AF66-4E371AE5291A}">
  <ds:schemaRefs>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98ef81e7-fc8b-4d07-a865-df9df549a712"/>
    <ds:schemaRef ds:uri="4d9a8bd8-1a01-4ed8-976f-b491577ecbaa"/>
    <ds:schemaRef ds:uri="http://www.w3.org/XML/1998/namespace"/>
    <ds:schemaRef ds:uri="http://purl.org/dc/dcmitype/"/>
  </ds:schemaRefs>
</ds:datastoreItem>
</file>

<file path=customXml/itemProps3.xml><?xml version="1.0" encoding="utf-8"?>
<ds:datastoreItem xmlns:ds="http://schemas.openxmlformats.org/officeDocument/2006/customXml" ds:itemID="{230B4197-6D73-4F08-8C19-5F2AB4AC2A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YS DOH Template</Template>
  <TotalTime>5527</TotalTime>
  <Words>755</Words>
  <Application>Microsoft Office PowerPoint</Application>
  <PresentationFormat>Widescreen</PresentationFormat>
  <Paragraphs>140</Paragraphs>
  <Slides>13</Slides>
  <Notes>9</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ariant>
        <vt:lpstr>Custom Shows</vt:lpstr>
      </vt:variant>
      <vt:variant>
        <vt:i4>1</vt:i4>
      </vt:variant>
    </vt:vector>
  </HeadingPairs>
  <TitlesOfParts>
    <vt:vector size="20" baseType="lpstr">
      <vt:lpstr>Arial</vt:lpstr>
      <vt:lpstr>Proxima Nova Rg</vt:lpstr>
      <vt:lpstr>Times New Roman</vt:lpstr>
      <vt:lpstr>Trebuchet MS</vt:lpstr>
      <vt:lpstr>New York State Department of Health Grid 16:9 - 16054</vt:lpstr>
      <vt:lpstr>think-cell Slide</vt:lpstr>
      <vt:lpstr>New York State Master Plan for Aging</vt:lpstr>
      <vt:lpstr>PowerPoint Presentation</vt:lpstr>
      <vt:lpstr>Governor Hochul signed an Executive Order on November 4, 2022 calling for the creation of a State Master Plan for Aging to…</vt:lpstr>
      <vt:lpstr>PowerPoint Presentation</vt:lpstr>
      <vt:lpstr>PowerPoint Presentation</vt:lpstr>
      <vt:lpstr>Master Plan’s Bold Agenda </vt:lpstr>
      <vt:lpstr>Lay the foundation for change to the aging landscape for the long haul </vt:lpstr>
      <vt:lpstr>PowerPoint Presentation</vt:lpstr>
      <vt:lpstr>Subcommittees</vt:lpstr>
      <vt:lpstr>PowerPoint Presentation</vt:lpstr>
      <vt:lpstr>PowerPoint Presentation</vt:lpstr>
      <vt:lpstr>How can you help to develop the Master Plan?</vt:lpstr>
      <vt:lpstr>Questions? </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Master Plan on Aging for New York</dc:title>
  <dc:creator>Shaffer, Ben</dc:creator>
  <cp:lastModifiedBy>Leonard, Colleen M (HEALTH)</cp:lastModifiedBy>
  <cp:revision>41</cp:revision>
  <cp:lastPrinted>2022-11-08T18:00:47Z</cp:lastPrinted>
  <dcterms:created xsi:type="dcterms:W3CDTF">2022-09-09T12:56:31Z</dcterms:created>
  <dcterms:modified xsi:type="dcterms:W3CDTF">2023-08-23T12:1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B1B4B6134C60F43A1ADF953F4E4A61A</vt:lpwstr>
  </property>
  <property fmtid="{D5CDD505-2E9C-101B-9397-08002B2CF9AE}" pid="8" name="ComplianceAssetId">
    <vt:lpwstr/>
  </property>
  <property fmtid="{D5CDD505-2E9C-101B-9397-08002B2CF9AE}" pid="9" name="_ExtendedDescription">
    <vt:lpwstr/>
  </property>
  <property fmtid="{D5CDD505-2E9C-101B-9397-08002B2CF9AE}" pid="10" name="TriggerFlowInfo">
    <vt:lpwstr/>
  </property>
  <property fmtid="{D5CDD505-2E9C-101B-9397-08002B2CF9AE}" pid="11" name="MSIP_Label_b0d5c4f4-7a29-4385-b7a5-afbe2154ae6f_Enabled">
    <vt:lpwstr>true</vt:lpwstr>
  </property>
  <property fmtid="{D5CDD505-2E9C-101B-9397-08002B2CF9AE}" pid="12" name="MSIP_Label_b0d5c4f4-7a29-4385-b7a5-afbe2154ae6f_SetDate">
    <vt:lpwstr>2022-09-09T13:19:30Z</vt:lpwstr>
  </property>
  <property fmtid="{D5CDD505-2E9C-101B-9397-08002B2CF9AE}" pid="13" name="MSIP_Label_b0d5c4f4-7a29-4385-b7a5-afbe2154ae6f_Method">
    <vt:lpwstr>Standard</vt:lpwstr>
  </property>
  <property fmtid="{D5CDD505-2E9C-101B-9397-08002B2CF9AE}" pid="14" name="MSIP_Label_b0d5c4f4-7a29-4385-b7a5-afbe2154ae6f_Name">
    <vt:lpwstr>Confidential</vt:lpwstr>
  </property>
  <property fmtid="{D5CDD505-2E9C-101B-9397-08002B2CF9AE}" pid="15" name="MSIP_Label_b0d5c4f4-7a29-4385-b7a5-afbe2154ae6f_SiteId">
    <vt:lpwstr>2dfb2f0b-4d21-4268-9559-72926144c918</vt:lpwstr>
  </property>
  <property fmtid="{D5CDD505-2E9C-101B-9397-08002B2CF9AE}" pid="16" name="MSIP_Label_b0d5c4f4-7a29-4385-b7a5-afbe2154ae6f_ActionId">
    <vt:lpwstr>22cf9f3c-5b40-44a8-a574-09c2f04f05eb</vt:lpwstr>
  </property>
  <property fmtid="{D5CDD505-2E9C-101B-9397-08002B2CF9AE}" pid="17" name="MSIP_Label_b0d5c4f4-7a29-4385-b7a5-afbe2154ae6f_ContentBits">
    <vt:lpwstr>0</vt:lpwstr>
  </property>
  <property fmtid="{D5CDD505-2E9C-101B-9397-08002B2CF9AE}" pid="18" name="bcgClassification">
    <vt:lpwstr>bcgConfidential</vt:lpwstr>
  </property>
  <property fmtid="{D5CDD505-2E9C-101B-9397-08002B2CF9AE}" pid="19" name="MediaServiceImageTags">
    <vt:lpwstr/>
  </property>
</Properties>
</file>